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Lst>
  <p:notesMasterIdLst>
    <p:notesMasterId r:id="rId9"/>
  </p:notesMasterIdLst>
  <p:sldIdLst>
    <p:sldId id="258" r:id="rId2"/>
    <p:sldId id="259" r:id="rId3"/>
    <p:sldId id="260" r:id="rId4"/>
    <p:sldId id="261" r:id="rId5"/>
    <p:sldId id="262" r:id="rId6"/>
    <p:sldId id="263" r:id="rId7"/>
    <p:sldId id="264" r:id="rId8"/>
  </p:sldIdLst>
  <p:sldSz cx="12192000" cy="6858000"/>
  <p:notesSz cx="6858000" cy="9144000"/>
  <p:custDataLst>
    <p:tags r:id="rId1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C881FB-18D9-4208-802E-CF52B263F662}" v="10" dt="2022-03-24T10:09:50.9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1576" autoAdjust="0"/>
  </p:normalViewPr>
  <p:slideViewPr>
    <p:cSldViewPr snapToGrid="0">
      <p:cViewPr varScale="1">
        <p:scale>
          <a:sx n="93" d="100"/>
          <a:sy n="93" d="100"/>
        </p:scale>
        <p:origin x="1272"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a Nilsson" userId="dd5b3ee0-cda6-4820-935e-84ffbe132c14" providerId="ADAL" clId="{B0C881FB-18D9-4208-802E-CF52B263F662}"/>
    <pc:docChg chg="custSel modSld replTag">
      <pc:chgData name="Linda Nilsson" userId="dd5b3ee0-cda6-4820-935e-84ffbe132c14" providerId="ADAL" clId="{B0C881FB-18D9-4208-802E-CF52B263F662}" dt="2022-03-24T10:09:42.695" v="7822"/>
      <pc:docMkLst>
        <pc:docMk/>
      </pc:docMkLst>
      <pc:sldChg chg="modNotesTx">
        <pc:chgData name="Linda Nilsson" userId="dd5b3ee0-cda6-4820-935e-84ffbe132c14" providerId="ADAL" clId="{B0C881FB-18D9-4208-802E-CF52B263F662}" dt="2022-03-24T10:02:07.093" v="7241" actId="6549"/>
        <pc:sldMkLst>
          <pc:docMk/>
          <pc:sldMk cId="3473056511" sldId="259"/>
        </pc:sldMkLst>
      </pc:sldChg>
      <pc:sldChg chg="modNotesTx">
        <pc:chgData name="Linda Nilsson" userId="dd5b3ee0-cda6-4820-935e-84ffbe132c14" providerId="ADAL" clId="{B0C881FB-18D9-4208-802E-CF52B263F662}" dt="2022-03-24T09:29:09.407" v="5109" actId="20577"/>
        <pc:sldMkLst>
          <pc:docMk/>
          <pc:sldMk cId="3200308883" sldId="260"/>
        </pc:sldMkLst>
      </pc:sldChg>
      <pc:sldChg chg="modNotesTx">
        <pc:chgData name="Linda Nilsson" userId="dd5b3ee0-cda6-4820-935e-84ffbe132c14" providerId="ADAL" clId="{B0C881FB-18D9-4208-802E-CF52B263F662}" dt="2022-03-24T09:32:22.707" v="5488" actId="20577"/>
        <pc:sldMkLst>
          <pc:docMk/>
          <pc:sldMk cId="1001189755" sldId="261"/>
        </pc:sldMkLst>
      </pc:sldChg>
      <pc:sldChg chg="modNotesTx">
        <pc:chgData name="Linda Nilsson" userId="dd5b3ee0-cda6-4820-935e-84ffbe132c14" providerId="ADAL" clId="{B0C881FB-18D9-4208-802E-CF52B263F662}" dt="2022-03-24T10:03:08.458" v="7276" actId="20577"/>
        <pc:sldMkLst>
          <pc:docMk/>
          <pc:sldMk cId="2683408189" sldId="262"/>
        </pc:sldMkLst>
      </pc:sldChg>
      <pc:sldChg chg="modNotesTx">
        <pc:chgData name="Linda Nilsson" userId="dd5b3ee0-cda6-4820-935e-84ffbe132c14" providerId="ADAL" clId="{B0C881FB-18D9-4208-802E-CF52B263F662}" dt="2022-03-24T10:08:57.848" v="7798" actId="20577"/>
        <pc:sldMkLst>
          <pc:docMk/>
          <pc:sldMk cId="2187197311" sldId="263"/>
        </pc:sldMkLst>
      </pc:sldChg>
      <pc:sldChg chg="addSp modSp mod modNotesTx">
        <pc:chgData name="Linda Nilsson" userId="dd5b3ee0-cda6-4820-935e-84ffbe132c14" providerId="ADAL" clId="{B0C881FB-18D9-4208-802E-CF52B263F662}" dt="2022-03-24T10:09:42.695" v="7822"/>
        <pc:sldMkLst>
          <pc:docMk/>
          <pc:sldMk cId="89164049" sldId="264"/>
        </pc:sldMkLst>
        <pc:spChg chg="mod">
          <ac:chgData name="Linda Nilsson" userId="dd5b3ee0-cda6-4820-935e-84ffbe132c14" providerId="ADAL" clId="{B0C881FB-18D9-4208-802E-CF52B263F662}" dt="2022-03-24T10:09:42.678" v="7805" actId="948"/>
          <ac:spMkLst>
            <pc:docMk/>
            <pc:sldMk cId="89164049" sldId="264"/>
            <ac:spMk id="2" creationId="{750D7BCF-07F8-4EE8-84CE-FA88D8DB5D26}"/>
          </ac:spMkLst>
        </pc:spChg>
        <pc:spChg chg="mod">
          <ac:chgData name="Linda Nilsson" userId="dd5b3ee0-cda6-4820-935e-84ffbe132c14" providerId="ADAL" clId="{B0C881FB-18D9-4208-802E-CF52B263F662}" dt="2022-03-24T10:09:42.177" v="7804" actId="790"/>
          <ac:spMkLst>
            <pc:docMk/>
            <pc:sldMk cId="89164049" sldId="264"/>
            <ac:spMk id="3" creationId="{8EED720C-5044-4741-A520-9A070923F5FB}"/>
          </ac:spMkLst>
        </pc:spChg>
        <pc:graphicFrameChg chg="add mod ord modVis replST">
          <ac:chgData name="Linda Nilsson" userId="dd5b3ee0-cda6-4820-935e-84ffbe132c14" providerId="ADAL" clId="{B0C881FB-18D9-4208-802E-CF52B263F662}" dt="2022-03-24T10:09:42.695" v="7822"/>
          <ac:graphicFrameMkLst>
            <pc:docMk/>
            <pc:sldMk cId="89164049" sldId="264"/>
            <ac:graphicFrameMk id="5" creationId="{023CD503-C5DE-4160-AB85-A445CFD2C8E9}"/>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27FB41-5359-4DC3-A911-4CAB3848E570}" type="datetimeFigureOut">
              <a:rPr lang="sv-SE" smtClean="0"/>
              <a:t>2022-03-2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458161-5AF6-4E94-9FF6-87EC53B013B9}" type="slidenum">
              <a:rPr lang="sv-SE" smtClean="0"/>
              <a:t>‹#›</a:t>
            </a:fld>
            <a:endParaRPr lang="sv-SE"/>
          </a:p>
        </p:txBody>
      </p:sp>
    </p:spTree>
    <p:extLst>
      <p:ext uri="{BB962C8B-B14F-4D97-AF65-F5344CB8AC3E}">
        <p14:creationId xmlns:p14="http://schemas.microsoft.com/office/powerpoint/2010/main" val="11329514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29458161-5AF6-4E94-9FF6-87EC53B013B9}" type="slidenum">
              <a:rPr lang="sv-SE" smtClean="0"/>
              <a:t>1</a:t>
            </a:fld>
            <a:endParaRPr lang="sv-SE"/>
          </a:p>
        </p:txBody>
      </p:sp>
    </p:spTree>
    <p:extLst>
      <p:ext uri="{BB962C8B-B14F-4D97-AF65-F5344CB8AC3E}">
        <p14:creationId xmlns:p14="http://schemas.microsoft.com/office/powerpoint/2010/main" val="1949620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Noteringar från ledarna:</a:t>
            </a:r>
          </a:p>
          <a:p>
            <a:endParaRPr lang="sv-SE" dirty="0"/>
          </a:p>
          <a:p>
            <a:pPr marL="171450" indent="-171450">
              <a:buFont typeface="Arial" panose="020B0604020202020204" pitchFamily="34" charset="0"/>
              <a:buChar char="•"/>
            </a:pPr>
            <a:r>
              <a:rPr lang="sv-SE" dirty="0"/>
              <a:t>Ledarna tycker det är en rolig och härlig grupp att arbeta med. Alla barn har gjort utveckling från vart de befinner sig i sin hockey/skridsko utveckling.</a:t>
            </a:r>
          </a:p>
          <a:p>
            <a:pPr marL="171450" indent="-171450">
              <a:buFont typeface="Arial" panose="020B0604020202020204" pitchFamily="34" charset="0"/>
              <a:buChar char="•"/>
            </a:pPr>
            <a:r>
              <a:rPr lang="sv-SE" dirty="0"/>
              <a:t>Vissa träningar har det bara kunnat vara en ledare på is, vilket är för lite, men killarna har bra fokus och lyssnar gör övningar så man har lyckats få till bra träning trots få ledare. </a:t>
            </a:r>
          </a:p>
          <a:p>
            <a:pPr marL="171450" indent="-171450">
              <a:buFont typeface="Arial" panose="020B0604020202020204" pitchFamily="34" charset="0"/>
              <a:buChar char="•"/>
            </a:pPr>
            <a:r>
              <a:rPr lang="sv-SE" b="1" dirty="0"/>
              <a:t>Vi behöver bli fler ledare i truppen</a:t>
            </a:r>
            <a:r>
              <a:rPr lang="sv-SE" dirty="0"/>
              <a:t>, kontakta Andreas Bergström om intresse finns! Man behöver inte känna att man ska ha spelat hockey innan utan snarare att det finns ett intresse, och att man tycker det är kul att vara med och utveckla barn till att tycka hockey är roligt, att bygga ett lag att fortsätta lagets utveckling. Om man inte vill vara ”tränare” och tex planera träningar/ta </a:t>
            </a:r>
            <a:r>
              <a:rPr lang="sv-SE" dirty="0" err="1"/>
              <a:t>lead</a:t>
            </a:r>
            <a:r>
              <a:rPr lang="sv-SE" dirty="0"/>
              <a:t> så behövs man också som ledare på is med att kunna stötta och hjälpa till med att sätta ut/plocka ihop koner/skapa banor, flytta/passa puckar osv </a:t>
            </a:r>
            <a:r>
              <a:rPr lang="sv-SE" dirty="0" err="1"/>
              <a:t>osv</a:t>
            </a:r>
            <a:r>
              <a:rPr lang="sv-SE" dirty="0"/>
              <a:t>, så även om man inte är aktivt deltagande som ledare så betyder det oerhört mycket om man har en mer passiv roll på isen som ledare. Man behöver inte heller kunna ställa upp på alla pass i veckan som barnen har träning, all hjälp är välkommen och alla har förståelse för arbete/familj/logistik.  Så fundera och meddela Andreas så snarts så möjligt om ni kan tänka er att hjälpa till under kommande säsong! </a:t>
            </a:r>
          </a:p>
          <a:p>
            <a:pPr marL="171450" indent="-171450">
              <a:buFont typeface="Arial" panose="020B0604020202020204" pitchFamily="34" charset="0"/>
              <a:buChar char="•"/>
            </a:pPr>
            <a:r>
              <a:rPr lang="sv-SE" dirty="0"/>
              <a:t>Truppen får som sommarläxa </a:t>
            </a:r>
            <a:r>
              <a:rPr lang="sv-SE" b="1" dirty="0"/>
              <a:t>att träna på att knyta skridskor. </a:t>
            </a:r>
            <a:r>
              <a:rPr lang="sv-SE" dirty="0"/>
              <a:t>Många kan redan men det finns fortfarande många som inte kan själva och detta tar för lång tid från tränarna i omklädningsrummet. Ledarna har sagt som morot att när alla kan knyta skridskor själva så ska de få ha högtalare/musik i omklädningsrummet, något som de längtar efter så det är en bra morot att lära sig själv. Så till ALLA föräldrar, börja redan nu och träna inför de sista träningarna/matcherna och uppmuntra killarna att göra det själva, för väldigt många kan redan.</a:t>
            </a:r>
          </a:p>
          <a:p>
            <a:pPr marL="171450" indent="-171450">
              <a:buFont typeface="Arial" panose="020B0604020202020204" pitchFamily="34" charset="0"/>
              <a:buChar char="•"/>
            </a:pPr>
            <a:r>
              <a:rPr lang="sv-SE" dirty="0"/>
              <a:t>Cupen i Östersund: ÄNTLIGEN kom vi iväg på cup! Otroligt uppskattat av både spelare, ledare och föräldrar! 2 dagar fyllda med hockey glädje med många erfarenheter rikare. Vi är taggade för fler!</a:t>
            </a:r>
          </a:p>
          <a:p>
            <a:pPr marL="171450" indent="-171450">
              <a:buFont typeface="Arial" panose="020B0604020202020204" pitchFamily="34" charset="0"/>
              <a:buChar char="•"/>
            </a:pPr>
            <a:r>
              <a:rPr lang="sv-SE" dirty="0"/>
              <a:t>Cup i Njurunda – 1 dags cup  och 2 dagars cup i Timrå, vi deltar med 2 lag på varje. De som är kallade, svara snabbt så vi vet om vi behöver kalla in reser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err="1">
                <a:effectLst/>
                <a:latin typeface="Calibri" panose="020F0502020204030204" pitchFamily="34" charset="0"/>
                <a:ea typeface="Times New Roman" panose="02020603050405020304" pitchFamily="18" charset="0"/>
              </a:rPr>
              <a:t>Deltagaravgift</a:t>
            </a:r>
            <a:r>
              <a:rPr lang="en-US" sz="1800" dirty="0">
                <a:effectLst/>
                <a:latin typeface="Calibri" panose="020F0502020204030204" pitchFamily="34" charset="0"/>
                <a:ea typeface="Times New Roman" panose="02020603050405020304" pitchFamily="18" charset="0"/>
              </a:rPr>
              <a:t> för </a:t>
            </a:r>
            <a:r>
              <a:rPr lang="en-US" sz="1800" dirty="0" err="1">
                <a:effectLst/>
                <a:latin typeface="Calibri" panose="020F0502020204030204" pitchFamily="34" charset="0"/>
                <a:ea typeface="Times New Roman" panose="02020603050405020304" pitchFamily="18" charset="0"/>
              </a:rPr>
              <a:t>kommande</a:t>
            </a:r>
            <a:r>
              <a:rPr lang="en-US" sz="1800" dirty="0">
                <a:effectLst/>
                <a:latin typeface="Calibri" panose="020F0502020204030204" pitchFamily="34" charset="0"/>
                <a:ea typeface="Times New Roman" panose="02020603050405020304" pitchFamily="18" charset="0"/>
              </a:rPr>
              <a:t> cup  </a:t>
            </a:r>
            <a:r>
              <a:rPr lang="en-US" sz="1800" dirty="0" err="1">
                <a:effectLst/>
                <a:latin typeface="Calibri" panose="020F0502020204030204" pitchFamily="34" charset="0"/>
                <a:ea typeface="Times New Roman" panose="02020603050405020304" pitchFamily="18" charset="0"/>
              </a:rPr>
              <a:t>Njurunda</a:t>
            </a:r>
            <a:r>
              <a:rPr lang="en-US" sz="1800" dirty="0">
                <a:effectLst/>
                <a:latin typeface="Calibri" panose="020F0502020204030204" pitchFamily="34" charset="0"/>
                <a:ea typeface="Times New Roman" panose="02020603050405020304" pitchFamily="18" charset="0"/>
              </a:rPr>
              <a:t> 200kr </a:t>
            </a:r>
            <a:r>
              <a:rPr lang="en-US" sz="1800" dirty="0" err="1">
                <a:effectLst/>
                <a:latin typeface="Calibri" panose="020F0502020204030204" pitchFamily="34" charset="0"/>
                <a:ea typeface="Times New Roman" panose="02020603050405020304" pitchFamily="18" charset="0"/>
              </a:rPr>
              <a:t>och</a:t>
            </a:r>
            <a:r>
              <a:rPr lang="en-US" sz="1800" dirty="0">
                <a:effectLst/>
                <a:latin typeface="Calibri" panose="020F0502020204030204" pitchFamily="34" charset="0"/>
                <a:ea typeface="Times New Roman" panose="02020603050405020304" pitchFamily="18" charset="0"/>
              </a:rPr>
              <a:t> Timrå 300kr</a:t>
            </a:r>
            <a:endParaRPr lang="en-US" sz="1800" dirty="0">
              <a:effectLst/>
              <a:latin typeface="Calibri" panose="020F0502020204030204" pitchFamily="34" charset="0"/>
              <a:ea typeface="Calibri" panose="020F0502020204030204" pitchFamily="34" charset="0"/>
            </a:endParaRPr>
          </a:p>
          <a:p>
            <a:pPr marL="171450" indent="-171450">
              <a:buFont typeface="Arial" panose="020B0604020202020204" pitchFamily="34" charset="0"/>
              <a:buChar char="•"/>
            </a:pPr>
            <a:r>
              <a:rPr lang="sv-SE" dirty="0"/>
              <a:t>Serie spel: Kommentar från föräldrar att för kommande säsong kolla hur matcherna fördelas så att inte ”ett lag” är det som enbart får åka till Ånge/Härnösand utan att det fördelas mer jämt. Kommentar kom också kring om det finns någon rekommendation att man har paus 15/20 min efter att tex ha </a:t>
            </a:r>
            <a:r>
              <a:rPr lang="sv-SE" dirty="0" err="1"/>
              <a:t>spealt</a:t>
            </a:r>
            <a:r>
              <a:rPr lang="sv-SE" dirty="0"/>
              <a:t> 2x15 min innan nästa 2x15 startar. I framförallt Njurunda men även </a:t>
            </a:r>
            <a:r>
              <a:rPr lang="sv-SE" dirty="0" err="1"/>
              <a:t>Kovland</a:t>
            </a:r>
            <a:r>
              <a:rPr lang="sv-SE" dirty="0"/>
              <a:t> har vi varit med om att barnen spelat non stop i 90 min utan paus, vilket blir </a:t>
            </a:r>
            <a:r>
              <a:rPr lang="sv-SE" dirty="0" err="1"/>
              <a:t>alldelels</a:t>
            </a:r>
            <a:r>
              <a:rPr lang="sv-SE" dirty="0"/>
              <a:t> för tufft och allra helst när vi kommit med 7 spelare enbart. Önskemål till nästa år att vi kommer med 10 spelare så att man har 3 3 manna </a:t>
            </a:r>
            <a:r>
              <a:rPr lang="sv-SE" dirty="0" err="1"/>
              <a:t>kjedjor</a:t>
            </a:r>
            <a:r>
              <a:rPr lang="sv-SE" dirty="0"/>
              <a:t> och 1 målvakt. Ledare förklarade även att då det försvann ett antal spelare i början av säsongen efter att vi anmält 4 lag till serie spel så påverkade det också antalet spelare såklart som kom med till spel, vilket alla på mötet förstod. </a:t>
            </a:r>
          </a:p>
          <a:p>
            <a:endParaRPr lang="sv-SE" dirty="0"/>
          </a:p>
          <a:p>
            <a:endParaRPr lang="sv-SE" dirty="0"/>
          </a:p>
        </p:txBody>
      </p:sp>
      <p:sp>
        <p:nvSpPr>
          <p:cNvPr id="4" name="Slide Number Placeholder 3"/>
          <p:cNvSpPr>
            <a:spLocks noGrp="1"/>
          </p:cNvSpPr>
          <p:nvPr>
            <p:ph type="sldNum" sz="quarter" idx="5"/>
          </p:nvPr>
        </p:nvSpPr>
        <p:spPr/>
        <p:txBody>
          <a:bodyPr/>
          <a:lstStyle/>
          <a:p>
            <a:fld id="{29458161-5AF6-4E94-9FF6-87EC53B013B9}" type="slidenum">
              <a:rPr lang="sv-SE" smtClean="0"/>
              <a:t>2</a:t>
            </a:fld>
            <a:endParaRPr lang="sv-SE"/>
          </a:p>
        </p:txBody>
      </p:sp>
    </p:spTree>
    <p:extLst>
      <p:ext uri="{BB962C8B-B14F-4D97-AF65-F5344CB8AC3E}">
        <p14:creationId xmlns:p14="http://schemas.microsoft.com/office/powerpoint/2010/main" val="33542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Sandra presenterade kiosk/parkeringsschemat som hon tagit på sig att skapa för laget, efter att ha </a:t>
            </a:r>
            <a:r>
              <a:rPr lang="sv-SE" dirty="0" err="1"/>
              <a:t>roddat</a:t>
            </a:r>
            <a:r>
              <a:rPr lang="sv-SE" dirty="0"/>
              <a:t> med dessa schema vid vår Vasa Cup. Mycket bra gjort Sandra.</a:t>
            </a:r>
          </a:p>
          <a:p>
            <a:endParaRPr lang="sv-SE" dirty="0"/>
          </a:p>
          <a:p>
            <a:r>
              <a:rPr lang="sv-SE" dirty="0"/>
              <a:t>Sandra har full koll på antal pass som alla gjort, och tar med sig det inför höstens schema så att det blir rättvist för alla. Justering gjordes efter Vasa Cup då det kommit feedback att dela upp pass så ingen behöver stå ”</a:t>
            </a:r>
            <a:r>
              <a:rPr lang="sv-SE" dirty="0" err="1"/>
              <a:t>monsterpass</a:t>
            </a:r>
            <a:r>
              <a:rPr lang="sv-SE" dirty="0"/>
              <a:t>” på 6h utan istället 2 pass a 3 h tex, samt att det också kommit direktiv från föreningen att man alltid ska stå 2 familjer i kiosken.</a:t>
            </a:r>
          </a:p>
          <a:p>
            <a:endParaRPr lang="sv-SE" dirty="0"/>
          </a:p>
          <a:p>
            <a:r>
              <a:rPr lang="sv-SE" b="1" dirty="0"/>
              <a:t>Viktigt</a:t>
            </a:r>
            <a:r>
              <a:rPr lang="sv-SE" dirty="0"/>
              <a:t> att man meddelar den man ska göra ett arbetspass med om man sålt bort sitt pass, så att den vet vilken som kommer. Viktigt också att om tex blir hastigt sjuk att man meddelar det till den andra parten så att de vet om och att man tillsammans kan försöka få fram någon annan som kan hjälpa till under passet.</a:t>
            </a:r>
          </a:p>
          <a:p>
            <a:endParaRPr lang="sv-SE" dirty="0"/>
          </a:p>
          <a:p>
            <a:r>
              <a:rPr lang="sv-SE" dirty="0"/>
              <a:t>Linda lägger upp listorna med personer man kan kontakta för att sälja sitt pass till.</a:t>
            </a:r>
          </a:p>
          <a:p>
            <a:r>
              <a:rPr lang="sv-SE" dirty="0"/>
              <a:t>Ersättning för sålt pass är 100kr/h</a:t>
            </a:r>
          </a:p>
          <a:p>
            <a:endParaRPr lang="sv-SE" dirty="0"/>
          </a:p>
          <a:p>
            <a:r>
              <a:rPr lang="sv-SE" dirty="0"/>
              <a:t>Fråga kom upp om hur gammal man ska vara för att få stå i kiosken, -Sandra kollar upp och återkommer.</a:t>
            </a:r>
          </a:p>
          <a:p>
            <a:endParaRPr lang="sv-SE" dirty="0"/>
          </a:p>
        </p:txBody>
      </p:sp>
      <p:sp>
        <p:nvSpPr>
          <p:cNvPr id="4" name="Slide Number Placeholder 3"/>
          <p:cNvSpPr>
            <a:spLocks noGrp="1"/>
          </p:cNvSpPr>
          <p:nvPr>
            <p:ph type="sldNum" sz="quarter" idx="5"/>
          </p:nvPr>
        </p:nvSpPr>
        <p:spPr/>
        <p:txBody>
          <a:bodyPr/>
          <a:lstStyle/>
          <a:p>
            <a:fld id="{29458161-5AF6-4E94-9FF6-87EC53B013B9}" type="slidenum">
              <a:rPr lang="sv-SE" smtClean="0"/>
              <a:t>3</a:t>
            </a:fld>
            <a:endParaRPr lang="sv-SE"/>
          </a:p>
        </p:txBody>
      </p:sp>
    </p:spTree>
    <p:extLst>
      <p:ext uri="{BB962C8B-B14F-4D97-AF65-F5344CB8AC3E}">
        <p14:creationId xmlns:p14="http://schemas.microsoft.com/office/powerpoint/2010/main" val="901825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nda </a:t>
            </a:r>
            <a:r>
              <a:rPr lang="en-US" dirty="0" err="1"/>
              <a:t>summerade</a:t>
            </a:r>
            <a:r>
              <a:rPr lang="en-US" dirty="0"/>
              <a:t> Vasa Cup, se </a:t>
            </a:r>
            <a:r>
              <a:rPr lang="en-US" dirty="0" err="1"/>
              <a:t>separat</a:t>
            </a:r>
            <a:r>
              <a:rPr lang="en-US" dirty="0"/>
              <a:t> ppt presentation.</a:t>
            </a:r>
          </a:p>
        </p:txBody>
      </p:sp>
      <p:sp>
        <p:nvSpPr>
          <p:cNvPr id="4" name="Slide Number Placeholder 3"/>
          <p:cNvSpPr>
            <a:spLocks noGrp="1"/>
          </p:cNvSpPr>
          <p:nvPr>
            <p:ph type="sldNum" sz="quarter" idx="5"/>
          </p:nvPr>
        </p:nvSpPr>
        <p:spPr/>
        <p:txBody>
          <a:bodyPr/>
          <a:lstStyle/>
          <a:p>
            <a:fld id="{29458161-5AF6-4E94-9FF6-87EC53B013B9}" type="slidenum">
              <a:rPr lang="sv-SE" smtClean="0"/>
              <a:t>4</a:t>
            </a:fld>
            <a:endParaRPr lang="sv-SE"/>
          </a:p>
        </p:txBody>
      </p:sp>
    </p:spTree>
    <p:extLst>
      <p:ext uri="{BB962C8B-B14F-4D97-AF65-F5344CB8AC3E}">
        <p14:creationId xmlns:p14="http://schemas.microsoft.com/office/powerpoint/2010/main" val="3178057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Just nu i mars har vi sålt toa/</a:t>
            </a:r>
            <a:r>
              <a:rPr lang="sv-SE" dirty="0" err="1"/>
              <a:t>hh</a:t>
            </a:r>
            <a:r>
              <a:rPr lang="sv-SE" dirty="0"/>
              <a:t> papper dels för att finansiera längre att isen ligger kvar länger och ger förlängd träningsmöjligheter på säsongen, kanon!</a:t>
            </a:r>
          </a:p>
          <a:p>
            <a:r>
              <a:rPr lang="sv-SE" dirty="0"/>
              <a:t>Dels är det föreningens sista toa/</a:t>
            </a:r>
            <a:r>
              <a:rPr lang="sv-SE" dirty="0" err="1"/>
              <a:t>hh</a:t>
            </a:r>
            <a:r>
              <a:rPr lang="sv-SE" dirty="0"/>
              <a:t> pappersförsäljning.</a:t>
            </a:r>
          </a:p>
          <a:p>
            <a:endParaRPr lang="sv-SE" dirty="0"/>
          </a:p>
          <a:p>
            <a:r>
              <a:rPr lang="sv-SE" b="1" dirty="0"/>
              <a:t>I maj </a:t>
            </a:r>
            <a:r>
              <a:rPr lang="sv-SE" dirty="0"/>
              <a:t>kommer det bli en extra toa/</a:t>
            </a:r>
            <a:r>
              <a:rPr lang="sv-SE" dirty="0" err="1"/>
              <a:t>hh</a:t>
            </a:r>
            <a:r>
              <a:rPr lang="sv-SE" dirty="0"/>
              <a:t> pappersförsäljning som du är sista innan sep. </a:t>
            </a:r>
            <a:r>
              <a:rPr lang="sv-SE" b="1" dirty="0"/>
              <a:t>ALL försäljning går då till laget</a:t>
            </a:r>
            <a:r>
              <a:rPr lang="sv-SE" dirty="0"/>
              <a:t>, så gör reklam att fylla förråden så de klarar sig till sep när nästa tillfälle är.</a:t>
            </a:r>
          </a:p>
          <a:p>
            <a:endParaRPr lang="en-US" sz="1800" dirty="0">
              <a:effectLst/>
              <a:latin typeface="Calibri" panose="020F0502020204030204" pitchFamily="34" charset="0"/>
              <a:ea typeface="Times New Roman" panose="02020603050405020304" pitchFamily="18" charset="0"/>
            </a:endParaRPr>
          </a:p>
          <a:p>
            <a:endParaRPr lang="en-US" sz="1800" dirty="0">
              <a:effectLst/>
              <a:latin typeface="Calibri" panose="020F0502020204030204" pitchFamily="34" charset="0"/>
              <a:ea typeface="Times New Roman" panose="02020603050405020304" pitchFamily="18" charset="0"/>
            </a:endParaRPr>
          </a:p>
          <a:p>
            <a:r>
              <a:rPr lang="en-US" sz="1800" dirty="0">
                <a:effectLst/>
                <a:latin typeface="Calibri" panose="020F0502020204030204" pitchFamily="34" charset="0"/>
                <a:ea typeface="Times New Roman" panose="02020603050405020304" pitchFamily="18" charset="0"/>
              </a:rPr>
              <a:t>SH </a:t>
            </a:r>
            <a:r>
              <a:rPr lang="en-US" sz="1800" dirty="0" err="1">
                <a:effectLst/>
                <a:latin typeface="Calibri" panose="020F0502020204030204" pitchFamily="34" charset="0"/>
                <a:ea typeface="Times New Roman" panose="02020603050405020304" pitchFamily="18" charset="0"/>
              </a:rPr>
              <a:t>vatten</a:t>
            </a:r>
            <a:r>
              <a:rPr lang="en-US" sz="1800" dirty="0">
                <a:effectLst/>
                <a:latin typeface="Calibri" panose="020F0502020204030204" pitchFamily="34" charset="0"/>
                <a:ea typeface="Times New Roman" panose="02020603050405020304" pitchFamily="18" charset="0"/>
              </a:rPr>
              <a:t>: 2 flak/</a:t>
            </a:r>
            <a:r>
              <a:rPr lang="en-US" sz="1800" dirty="0" err="1">
                <a:effectLst/>
                <a:latin typeface="Calibri" panose="020F0502020204030204" pitchFamily="34" charset="0"/>
                <a:ea typeface="Times New Roman" panose="02020603050405020304" pitchFamily="18" charset="0"/>
              </a:rPr>
              <a:t>spelare</a:t>
            </a:r>
            <a:r>
              <a:rPr lang="en-US" sz="1800" dirty="0">
                <a:effectLst/>
                <a:latin typeface="Calibri" panose="020F0502020204030204" pitchFamily="34" charset="0"/>
                <a:ea typeface="Times New Roman" panose="02020603050405020304" pitchFamily="18" charset="0"/>
              </a:rPr>
              <a:t> - </a:t>
            </a:r>
            <a:r>
              <a:rPr lang="en-US" sz="1800" dirty="0" err="1">
                <a:effectLst/>
                <a:latin typeface="Calibri" panose="020F0502020204030204" pitchFamily="34" charset="0"/>
                <a:ea typeface="Times New Roman" panose="02020603050405020304" pitchFamily="18" charset="0"/>
              </a:rPr>
              <a:t>et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vanlig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och</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ett</a:t>
            </a:r>
            <a:r>
              <a:rPr lang="en-US" sz="1800" dirty="0">
                <a:effectLst/>
                <a:latin typeface="Calibri" panose="020F0502020204030204" pitchFamily="34" charset="0"/>
                <a:ea typeface="Times New Roman" panose="02020603050405020304" pitchFamily="18" charset="0"/>
              </a:rPr>
              <a:t> med </a:t>
            </a:r>
            <a:r>
              <a:rPr lang="en-US" sz="1800" dirty="0" err="1">
                <a:effectLst/>
                <a:latin typeface="Calibri" panose="020F0502020204030204" pitchFamily="34" charset="0"/>
                <a:ea typeface="Times New Roman" panose="02020603050405020304" pitchFamily="18" charset="0"/>
              </a:rPr>
              <a:t>smak</a:t>
            </a:r>
            <a:endParaRPr lang="sv-SE" dirty="0"/>
          </a:p>
        </p:txBody>
      </p:sp>
      <p:sp>
        <p:nvSpPr>
          <p:cNvPr id="4" name="Slide Number Placeholder 3"/>
          <p:cNvSpPr>
            <a:spLocks noGrp="1"/>
          </p:cNvSpPr>
          <p:nvPr>
            <p:ph type="sldNum" sz="quarter" idx="5"/>
          </p:nvPr>
        </p:nvSpPr>
        <p:spPr/>
        <p:txBody>
          <a:bodyPr/>
          <a:lstStyle/>
          <a:p>
            <a:fld id="{29458161-5AF6-4E94-9FF6-87EC53B013B9}" type="slidenum">
              <a:rPr lang="sv-SE" smtClean="0"/>
              <a:t>5</a:t>
            </a:fld>
            <a:endParaRPr lang="sv-SE"/>
          </a:p>
        </p:txBody>
      </p:sp>
    </p:spTree>
    <p:extLst>
      <p:ext uri="{BB962C8B-B14F-4D97-AF65-F5344CB8AC3E}">
        <p14:creationId xmlns:p14="http://schemas.microsoft.com/office/powerpoint/2010/main" val="1000656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Vår kassör Josefin Vedin och lagledare Anna-Karin Jonsson kommer presentera vår kassa </a:t>
            </a:r>
            <a:r>
              <a:rPr lang="sv-SE" dirty="0" err="1"/>
              <a:t>såfort</a:t>
            </a:r>
            <a:r>
              <a:rPr lang="sv-SE" dirty="0"/>
              <a:t> de är klar med redovisning från Bingolotter, Vasa Cup mm då det finns en del poster som behöver redas ut innan presentation kan göras. </a:t>
            </a:r>
          </a:p>
          <a:p>
            <a:endParaRPr lang="en-US" sz="1800" dirty="0">
              <a:effectLst/>
              <a:latin typeface="Calibri" panose="020F0502020204030204" pitchFamily="34" charset="0"/>
              <a:ea typeface="Times New Roman" panose="02020603050405020304" pitchFamily="18" charset="0"/>
            </a:endParaRPr>
          </a:p>
          <a:p>
            <a:r>
              <a:rPr lang="en-US" sz="1800" dirty="0" err="1">
                <a:effectLst/>
                <a:latin typeface="Calibri" panose="020F0502020204030204" pitchFamily="34" charset="0"/>
                <a:ea typeface="Times New Roman" panose="02020603050405020304" pitchFamily="18" charset="0"/>
              </a:rPr>
              <a:t>Föräldrarna</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önska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en</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redovisning</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vad</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äsongen</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ha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kosta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å</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om</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kläder</a:t>
            </a:r>
            <a:r>
              <a:rPr lang="en-US" sz="1800" dirty="0">
                <a:effectLst/>
                <a:latin typeface="Calibri" panose="020F0502020204030204" pitchFamily="34" charset="0"/>
                <a:ea typeface="Times New Roman" panose="02020603050405020304" pitchFamily="18" charset="0"/>
              </a:rPr>
              <a:t>, cup </a:t>
            </a:r>
            <a:r>
              <a:rPr lang="en-US" sz="1800" dirty="0" err="1">
                <a:effectLst/>
                <a:latin typeface="Calibri" panose="020F0502020204030204" pitchFamily="34" charset="0"/>
                <a:ea typeface="Times New Roman" panose="02020603050405020304" pitchFamily="18" charset="0"/>
              </a:rPr>
              <a:t>m.m.</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am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vad</a:t>
            </a:r>
            <a:r>
              <a:rPr lang="en-US" sz="1800" dirty="0">
                <a:effectLst/>
                <a:latin typeface="Calibri" panose="020F0502020204030204" pitchFamily="34" charset="0"/>
                <a:ea typeface="Times New Roman" panose="02020603050405020304" pitchFamily="18" charset="0"/>
              </a:rPr>
              <a:t> vi </a:t>
            </a:r>
            <a:r>
              <a:rPr lang="en-US" sz="1800" dirty="0" err="1">
                <a:effectLst/>
                <a:latin typeface="Calibri" panose="020F0502020204030204" pitchFamily="34" charset="0"/>
                <a:ea typeface="Times New Roman" panose="02020603050405020304" pitchFamily="18" charset="0"/>
              </a:rPr>
              <a:t>dragit</a:t>
            </a:r>
            <a:r>
              <a:rPr lang="en-US" sz="1800" dirty="0">
                <a:effectLst/>
                <a:latin typeface="Calibri" panose="020F0502020204030204" pitchFamily="34" charset="0"/>
                <a:ea typeface="Times New Roman" panose="02020603050405020304" pitchFamily="18" charset="0"/>
              </a:rPr>
              <a:t> i </a:t>
            </a:r>
            <a:r>
              <a:rPr lang="en-US" sz="1800" dirty="0" err="1">
                <a:effectLst/>
                <a:latin typeface="Calibri" panose="020F0502020204030204" pitchFamily="34" charset="0"/>
                <a:ea typeface="Times New Roman" panose="02020603050405020304" pitchFamily="18" charset="0"/>
              </a:rPr>
              <a:t>i</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försäljning</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ponsring</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m.m.</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Hu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ä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läget</a:t>
            </a:r>
            <a:r>
              <a:rPr lang="en-US" sz="1800" dirty="0">
                <a:effectLst/>
                <a:latin typeface="Calibri" panose="020F0502020204030204" pitchFamily="34" charset="0"/>
                <a:ea typeface="Times New Roman" panose="02020603050405020304" pitchFamily="18" charset="0"/>
              </a:rPr>
              <a:t> nu?</a:t>
            </a:r>
            <a:endParaRPr lang="en-US" sz="1800" dirty="0">
              <a:effectLst/>
              <a:latin typeface="Calibri" panose="020F0502020204030204" pitchFamily="34" charset="0"/>
              <a:ea typeface="Calibri" panose="020F0502020204030204" pitchFamily="34" charset="0"/>
            </a:endParaRPr>
          </a:p>
          <a:p>
            <a:endParaRPr lang="sv-SE" dirty="0"/>
          </a:p>
          <a:p>
            <a:r>
              <a:rPr lang="sv-SE" dirty="0"/>
              <a:t>Beslut under mötet att när våra barn åker på cup så kommer </a:t>
            </a:r>
            <a:r>
              <a:rPr lang="sv-SE" b="1" dirty="0"/>
              <a:t>laget stå för anmälningsavgift och halva spelar avgiften. Andra halvan av spelaravgiften betalas av spelares familj</a:t>
            </a:r>
            <a:r>
              <a:rPr lang="sv-SE" dirty="0"/>
              <a:t>. </a:t>
            </a:r>
          </a:p>
          <a:p>
            <a:r>
              <a:rPr lang="sv-SE" dirty="0"/>
              <a:t>Avgift </a:t>
            </a:r>
            <a:r>
              <a:rPr lang="sv-SE" dirty="0" err="1"/>
              <a:t>swishas</a:t>
            </a:r>
            <a:r>
              <a:rPr lang="sv-SE" dirty="0"/>
              <a:t> in till lagkontot med barnets namn + cup namn som referens. Ledare kommer meddela när man </a:t>
            </a:r>
            <a:r>
              <a:rPr lang="sv-SE" dirty="0" err="1"/>
              <a:t>swishar</a:t>
            </a:r>
            <a:r>
              <a:rPr lang="sv-SE" dirty="0"/>
              <a:t> in den avgiften inför </a:t>
            </a:r>
            <a:r>
              <a:rPr lang="sv-SE" dirty="0" err="1"/>
              <a:t>resp</a:t>
            </a:r>
            <a:r>
              <a:rPr lang="sv-SE" dirty="0"/>
              <a:t> cup.</a:t>
            </a:r>
          </a:p>
          <a:p>
            <a:endParaRPr lang="sv-SE" dirty="0"/>
          </a:p>
          <a:p>
            <a:r>
              <a:rPr lang="sv-SE" dirty="0"/>
              <a:t>Anna-Karin önskar även att någon i laget tar på sig att hantera Bingolotter för laget inför nästa säsong – Sandra Högman kommer ta hand om detta och be om support om det behövs.</a:t>
            </a:r>
          </a:p>
          <a:p>
            <a:endParaRPr lang="sv-SE" dirty="0"/>
          </a:p>
          <a:p>
            <a:r>
              <a:rPr lang="sv-SE" dirty="0"/>
              <a:t>Sponsring till laget för nästa säsong: Önskemål att man ska definiera vad ryggtryck tex kostar på värmedressar/andra kläder istället för ett ”paket” som tidigare presenterats.</a:t>
            </a:r>
          </a:p>
          <a:p>
            <a:r>
              <a:rPr lang="sv-SE" dirty="0"/>
              <a:t>Svårt för många företag att kunna gå in med en större summa likt guld/silver alt var tidigare på 15/20 000kr. Lättare att sälja plats på kläder för tex 5000kr + tryck kostnad</a:t>
            </a:r>
          </a:p>
          <a:p>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effectLst/>
                <a:latin typeface="Calibri" panose="020F0502020204030204" pitchFamily="34" charset="0"/>
                <a:ea typeface="Times New Roman" panose="02020603050405020304" pitchFamily="18" charset="0"/>
              </a:rPr>
              <a:t>Föräldrarna</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önskar</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Swich</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från</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föreningen</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istället</a:t>
            </a:r>
            <a:r>
              <a:rPr lang="en-US" sz="1200" dirty="0">
                <a:effectLst/>
                <a:latin typeface="Calibri" panose="020F0502020204030204" pitchFamily="34" charset="0"/>
                <a:ea typeface="Times New Roman" panose="02020603050405020304" pitchFamily="18" charset="0"/>
              </a:rPr>
              <a:t> för </a:t>
            </a:r>
            <a:r>
              <a:rPr lang="en-US" sz="1200" dirty="0" err="1">
                <a:effectLst/>
                <a:latin typeface="Calibri" panose="020F0502020204030204" pitchFamily="34" charset="0"/>
                <a:ea typeface="Times New Roman" panose="02020603050405020304" pitchFamily="18" charset="0"/>
              </a:rPr>
              <a:t>en</a:t>
            </a:r>
            <a:r>
              <a:rPr lang="en-US" sz="1200" dirty="0">
                <a:effectLst/>
                <a:latin typeface="Calibri" panose="020F0502020204030204" pitchFamily="34" charset="0"/>
                <a:ea typeface="Times New Roman" panose="02020603050405020304" pitchFamily="18" charset="0"/>
              </a:rPr>
              <a:t> faktura </a:t>
            </a:r>
            <a:r>
              <a:rPr lang="en-US" sz="1200" dirty="0" err="1">
                <a:effectLst/>
                <a:latin typeface="Calibri" panose="020F0502020204030204" pitchFamily="34" charset="0"/>
                <a:ea typeface="Times New Roman" panose="02020603050405020304" pitchFamily="18" charset="0"/>
              </a:rPr>
              <a:t>på</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t.ex</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SportLotten</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toapapper</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så</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att</a:t>
            </a:r>
            <a:r>
              <a:rPr lang="en-US" sz="1200" dirty="0">
                <a:effectLst/>
                <a:latin typeface="Calibri" panose="020F0502020204030204" pitchFamily="34" charset="0"/>
                <a:ea typeface="Times New Roman" panose="02020603050405020304" pitchFamily="18" charset="0"/>
              </a:rPr>
              <a:t> man </a:t>
            </a:r>
            <a:r>
              <a:rPr lang="en-US" sz="1200" dirty="0" err="1">
                <a:effectLst/>
                <a:latin typeface="Calibri" panose="020F0502020204030204" pitchFamily="34" charset="0"/>
                <a:ea typeface="Times New Roman" panose="02020603050405020304" pitchFamily="18" charset="0"/>
              </a:rPr>
              <a:t>kan</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betala</a:t>
            </a:r>
            <a:r>
              <a:rPr lang="en-US" sz="1200" dirty="0">
                <a:effectLst/>
                <a:latin typeface="Calibri" panose="020F0502020204030204" pitchFamily="34" charset="0"/>
                <a:ea typeface="Times New Roman" panose="02020603050405020304" pitchFamily="18" charset="0"/>
              </a:rPr>
              <a:t> in </a:t>
            </a:r>
            <a:r>
              <a:rPr lang="en-US" sz="1200" dirty="0" err="1">
                <a:effectLst/>
                <a:latin typeface="Calibri" panose="020F0502020204030204" pitchFamily="34" charset="0"/>
                <a:ea typeface="Times New Roman" panose="02020603050405020304" pitchFamily="18" charset="0"/>
              </a:rPr>
              <a:t>direkt</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istället</a:t>
            </a:r>
            <a:r>
              <a:rPr lang="en-US" sz="1200" dirty="0">
                <a:effectLst/>
                <a:latin typeface="Calibri" panose="020F0502020204030204" pitchFamily="34" charset="0"/>
                <a:ea typeface="Times New Roman" panose="02020603050405020304" pitchFamily="18" charset="0"/>
              </a:rPr>
              <a:t> för </a:t>
            </a:r>
            <a:r>
              <a:rPr lang="en-US" sz="1200" dirty="0" err="1">
                <a:effectLst/>
                <a:latin typeface="Calibri" panose="020F0502020204030204" pitchFamily="34" charset="0"/>
                <a:ea typeface="Times New Roman" panose="02020603050405020304" pitchFamily="18" charset="0"/>
              </a:rPr>
              <a:t>att</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få</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en</a:t>
            </a:r>
            <a:r>
              <a:rPr lang="en-US" sz="1200" dirty="0">
                <a:effectLst/>
                <a:latin typeface="Calibri" panose="020F0502020204030204" pitchFamily="34" charset="0"/>
                <a:ea typeface="Times New Roman" panose="02020603050405020304" pitchFamily="18" charset="0"/>
              </a:rPr>
              <a:t> faktura </a:t>
            </a:r>
            <a:r>
              <a:rPr lang="en-US" sz="1200" dirty="0" err="1">
                <a:effectLst/>
                <a:latin typeface="Calibri" panose="020F0502020204030204" pitchFamily="34" charset="0"/>
                <a:ea typeface="Times New Roman" panose="02020603050405020304" pitchFamily="18" charset="0"/>
              </a:rPr>
              <a:t>senare</a:t>
            </a:r>
            <a:r>
              <a:rPr lang="en-US" sz="1200" dirty="0">
                <a:effectLst/>
                <a:latin typeface="Calibri" panose="020F0502020204030204" pitchFamily="34" charset="0"/>
                <a:ea typeface="Times New Roman" panose="02020603050405020304" pitchFamily="18" charset="0"/>
              </a:rPr>
              <a:t>.</a:t>
            </a:r>
            <a:endParaRPr lang="en-US" sz="1200" dirty="0">
              <a:effectLst/>
              <a:latin typeface="Calibri" panose="020F0502020204030204" pitchFamily="34" charset="0"/>
              <a:ea typeface="Calibri" panose="020F0502020204030204" pitchFamily="34" charset="0"/>
            </a:endParaRPr>
          </a:p>
          <a:p>
            <a:endParaRPr lang="sv-SE" dirty="0"/>
          </a:p>
          <a:p>
            <a:endParaRPr lang="sv-SE" dirty="0"/>
          </a:p>
          <a:p>
            <a:endParaRPr lang="sv-SE" dirty="0"/>
          </a:p>
        </p:txBody>
      </p:sp>
      <p:sp>
        <p:nvSpPr>
          <p:cNvPr id="4" name="Slide Number Placeholder 3"/>
          <p:cNvSpPr>
            <a:spLocks noGrp="1"/>
          </p:cNvSpPr>
          <p:nvPr>
            <p:ph type="sldNum" sz="quarter" idx="5"/>
          </p:nvPr>
        </p:nvSpPr>
        <p:spPr/>
        <p:txBody>
          <a:bodyPr/>
          <a:lstStyle/>
          <a:p>
            <a:fld id="{29458161-5AF6-4E94-9FF6-87EC53B013B9}" type="slidenum">
              <a:rPr lang="sv-SE" smtClean="0"/>
              <a:t>6</a:t>
            </a:fld>
            <a:endParaRPr lang="sv-SE"/>
          </a:p>
        </p:txBody>
      </p:sp>
    </p:spTree>
    <p:extLst>
      <p:ext uri="{BB962C8B-B14F-4D97-AF65-F5344CB8AC3E}">
        <p14:creationId xmlns:p14="http://schemas.microsoft.com/office/powerpoint/2010/main" val="3492754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Viktoria Bergenstråhle och Kristoffer Eklund bemannar pappersutlämningen på onsdag för Team 12.</a:t>
            </a:r>
          </a:p>
          <a:p>
            <a:r>
              <a:rPr lang="sv-SE" dirty="0"/>
              <a:t>Viktigt att stapla pallar snyggt samt att tömma tunnor med emballage i containern på baksidan av Ungdomshallen.</a:t>
            </a:r>
          </a:p>
          <a:p>
            <a:endParaRPr lang="sv-SE" dirty="0"/>
          </a:p>
          <a:p>
            <a:r>
              <a:rPr lang="en-US" sz="1800" dirty="0" err="1">
                <a:effectLst/>
                <a:latin typeface="Calibri" panose="020F0502020204030204" pitchFamily="34" charset="0"/>
                <a:ea typeface="Times New Roman" panose="02020603050405020304" pitchFamily="18" charset="0"/>
              </a:rPr>
              <a:t>Avslutning</a:t>
            </a:r>
            <a:r>
              <a:rPr lang="en-US" sz="1800" dirty="0">
                <a:effectLst/>
                <a:latin typeface="Calibri" panose="020F0502020204030204" pitchFamily="34" charset="0"/>
                <a:ea typeface="Times New Roman" panose="02020603050405020304" pitchFamily="18" charset="0"/>
              </a:rPr>
              <a:t> Mini cup </a:t>
            </a:r>
            <a:r>
              <a:rPr lang="en-US" sz="1800" dirty="0" err="1">
                <a:effectLst/>
                <a:latin typeface="Calibri" panose="020F0502020204030204" pitchFamily="34" charset="0"/>
                <a:ea typeface="Times New Roman" panose="02020603050405020304" pitchFamily="18" charset="0"/>
              </a:rPr>
              <a:t>på</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ProSharp</a:t>
            </a:r>
            <a:r>
              <a:rPr lang="en-US" sz="1800" dirty="0">
                <a:effectLst/>
                <a:latin typeface="Calibri" panose="020F0502020204030204" pitchFamily="34" charset="0"/>
                <a:ea typeface="Times New Roman" panose="02020603050405020304" pitchFamily="18" charset="0"/>
              </a:rPr>
              <a:t> med </a:t>
            </a:r>
            <a:r>
              <a:rPr lang="en-US" sz="1800" dirty="0" err="1">
                <a:effectLst/>
                <a:latin typeface="Calibri" panose="020F0502020204030204" pitchFamily="34" charset="0"/>
                <a:ea typeface="Times New Roman" panose="02020603050405020304" pitchFamily="18" charset="0"/>
              </a:rPr>
              <a:t>avslutning</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på</a:t>
            </a:r>
            <a:r>
              <a:rPr lang="en-US" sz="1800" dirty="0">
                <a:effectLst/>
                <a:latin typeface="Calibri" panose="020F0502020204030204" pitchFamily="34" charset="0"/>
                <a:ea typeface="Times New Roman" panose="02020603050405020304" pitchFamily="18" charset="0"/>
              </a:rPr>
              <a:t> Södra Berget </a:t>
            </a:r>
            <a:r>
              <a:rPr lang="en-US" sz="1800" dirty="0" err="1">
                <a:effectLst/>
                <a:latin typeface="Calibri" panose="020F0502020204030204" pitchFamily="34" charset="0"/>
                <a:ea typeface="Times New Roman" panose="02020603050405020304" pitchFamily="18" charset="0"/>
              </a:rPr>
              <a:t>dag</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och</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tid</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komme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enare</a:t>
            </a:r>
            <a:endParaRPr lang="en-US" sz="1800" dirty="0">
              <a:effectLst/>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Times New Roman" panose="02020603050405020304" pitchFamily="18" charset="0"/>
            </a:endParaRPr>
          </a:p>
          <a:p>
            <a:r>
              <a:rPr lang="en-US" sz="1800" dirty="0" err="1">
                <a:effectLst/>
                <a:latin typeface="Calibri" panose="020F0502020204030204" pitchFamily="34" charset="0"/>
                <a:ea typeface="Times New Roman" panose="02020603050405020304" pitchFamily="18" charset="0"/>
              </a:rPr>
              <a:t>Kvarglömda</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kläder</a:t>
            </a:r>
            <a:endParaRPr lang="en-US" sz="1800" dirty="0">
              <a:effectLst/>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Times New Roman" panose="02020603050405020304" pitchFamily="18" charset="0"/>
            </a:endParaRPr>
          </a:p>
          <a:p>
            <a:r>
              <a:rPr lang="en-US" sz="1800" dirty="0" err="1">
                <a:effectLst/>
                <a:latin typeface="Calibri" panose="020F0502020204030204" pitchFamily="34" charset="0"/>
                <a:ea typeface="Times New Roman" panose="02020603050405020304" pitchFamily="18" charset="0"/>
              </a:rPr>
              <a:t>Vad</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hände</a:t>
            </a:r>
            <a:r>
              <a:rPr lang="en-US" sz="1800" dirty="0">
                <a:effectLst/>
                <a:latin typeface="Calibri" panose="020F0502020204030204" pitchFamily="34" charset="0"/>
                <a:ea typeface="Times New Roman" panose="02020603050405020304" pitchFamily="18" charset="0"/>
              </a:rPr>
              <a:t> med </a:t>
            </a:r>
            <a:r>
              <a:rPr lang="en-US" sz="1800" dirty="0" err="1">
                <a:effectLst/>
                <a:latin typeface="Calibri" panose="020F0502020204030204" pitchFamily="34" charset="0"/>
                <a:ea typeface="Times New Roman" panose="02020603050405020304" pitchFamily="18" charset="0"/>
              </a:rPr>
              <a:t>damaskerna</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om</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beställdes</a:t>
            </a:r>
            <a:r>
              <a:rPr lang="en-US" sz="1800" dirty="0">
                <a:effectLst/>
                <a:latin typeface="Calibri" panose="020F0502020204030204" pitchFamily="34" charset="0"/>
                <a:ea typeface="Times New Roman" panose="02020603050405020304" pitchFamily="18" charset="0"/>
              </a:rPr>
              <a:t> i </a:t>
            </a:r>
            <a:r>
              <a:rPr lang="en-US" sz="1800" dirty="0" err="1">
                <a:effectLst/>
                <a:latin typeface="Calibri" panose="020F0502020204030204" pitchFamily="34" charset="0"/>
                <a:ea typeface="Times New Roman" panose="02020603050405020304" pitchFamily="18" charset="0"/>
              </a:rPr>
              <a:t>början</a:t>
            </a:r>
            <a:r>
              <a:rPr lang="en-US" sz="1800" dirty="0">
                <a:effectLst/>
                <a:latin typeface="Calibri" panose="020F0502020204030204" pitchFamily="34" charset="0"/>
                <a:ea typeface="Times New Roman" panose="02020603050405020304" pitchFamily="18" charset="0"/>
              </a:rPr>
              <a:t> av </a:t>
            </a:r>
            <a:r>
              <a:rPr lang="en-US" sz="1800" dirty="0" err="1">
                <a:effectLst/>
                <a:latin typeface="Calibri" panose="020F0502020204030204" pitchFamily="34" charset="0"/>
                <a:ea typeface="Times New Roman" panose="02020603050405020304" pitchFamily="18" charset="0"/>
              </a:rPr>
              <a:t>säsongen</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ingen</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ha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fåt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dom</a:t>
            </a:r>
            <a:endParaRPr lang="en-US" sz="1800" dirty="0">
              <a:effectLst/>
              <a:latin typeface="Calibri" panose="020F0502020204030204" pitchFamily="34" charset="0"/>
              <a:ea typeface="Calibri" panose="020F0502020204030204" pitchFamily="34" charset="0"/>
            </a:endParaRPr>
          </a:p>
          <a:p>
            <a:endParaRPr lang="en-US" sz="1800" dirty="0">
              <a:effectLst/>
              <a:latin typeface="Calibri" panose="020F0502020204030204" pitchFamily="34" charset="0"/>
              <a:ea typeface="Times New Roman" panose="02020603050405020304" pitchFamily="18" charset="0"/>
            </a:endParaRPr>
          </a:p>
          <a:p>
            <a:r>
              <a:rPr lang="en-US" sz="1800" dirty="0" err="1">
                <a:effectLst/>
                <a:latin typeface="Calibri" panose="020F0502020204030204" pitchFamily="34" charset="0"/>
                <a:ea typeface="Times New Roman" panose="02020603050405020304" pitchFamily="18" charset="0"/>
              </a:rPr>
              <a:t>Betalning</a:t>
            </a:r>
            <a:r>
              <a:rPr lang="en-US" sz="1800" dirty="0">
                <a:effectLst/>
                <a:latin typeface="Calibri" panose="020F0502020204030204" pitchFamily="34" charset="0"/>
                <a:ea typeface="Times New Roman" panose="02020603050405020304" pitchFamily="18" charset="0"/>
              </a:rPr>
              <a:t> av </a:t>
            </a:r>
            <a:r>
              <a:rPr lang="en-US" sz="1800" dirty="0" err="1">
                <a:effectLst/>
                <a:latin typeface="Calibri" panose="020F0502020204030204" pitchFamily="34" charset="0"/>
                <a:ea typeface="Times New Roman" panose="02020603050405020304" pitchFamily="18" charset="0"/>
              </a:rPr>
              <a:t>kläde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om</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beställdes</a:t>
            </a:r>
            <a:r>
              <a:rPr lang="en-US" sz="1800" dirty="0">
                <a:effectLst/>
                <a:latin typeface="Calibri" panose="020F0502020204030204" pitchFamily="34" charset="0"/>
                <a:ea typeface="Times New Roman" panose="02020603050405020304" pitchFamily="18" charset="0"/>
              </a:rPr>
              <a:t> extra, </a:t>
            </a:r>
            <a:r>
              <a:rPr lang="en-US" sz="1800" dirty="0" err="1">
                <a:effectLst/>
                <a:latin typeface="Calibri" panose="020F0502020204030204" pitchFamily="34" charset="0"/>
                <a:ea typeface="Times New Roman" panose="02020603050405020304" pitchFamily="18" charset="0"/>
              </a:rPr>
              <a:t>är</a:t>
            </a:r>
            <a:r>
              <a:rPr lang="en-US" sz="1800" dirty="0">
                <a:effectLst/>
                <a:latin typeface="Calibri" panose="020F0502020204030204" pitchFamily="34" charset="0"/>
                <a:ea typeface="Times New Roman" panose="02020603050405020304" pitchFamily="18" charset="0"/>
              </a:rPr>
              <a:t> dessa </a:t>
            </a:r>
            <a:r>
              <a:rPr lang="en-US" sz="1800" dirty="0" err="1">
                <a:effectLst/>
                <a:latin typeface="Calibri" panose="020F0502020204030204" pitchFamily="34" charset="0"/>
                <a:ea typeface="Times New Roman" panose="02020603050405020304" pitchFamily="18" charset="0"/>
              </a:rPr>
              <a:t>betalda</a:t>
            </a:r>
            <a:r>
              <a:rPr lang="en-US" sz="1800" dirty="0">
                <a:effectLst/>
                <a:latin typeface="Calibri" panose="020F0502020204030204" pitchFamily="34" charset="0"/>
                <a:ea typeface="Times New Roman" panose="02020603050405020304" pitchFamily="18" charset="0"/>
              </a:rPr>
              <a:t> av </a:t>
            </a:r>
            <a:r>
              <a:rPr lang="en-US" sz="1800" dirty="0" err="1">
                <a:effectLst/>
                <a:latin typeface="Calibri" panose="020F0502020204030204" pitchFamily="34" charset="0"/>
                <a:ea typeface="Times New Roman" panose="02020603050405020304" pitchFamily="18" charset="0"/>
              </a:rPr>
              <a:t>föräldrarna</a:t>
            </a:r>
            <a:r>
              <a:rPr lang="en-US" sz="1800" dirty="0">
                <a:effectLst/>
                <a:latin typeface="Calibri" panose="020F0502020204030204" pitchFamily="34" charset="0"/>
                <a:ea typeface="Times New Roman" panose="02020603050405020304" pitchFamily="18" charset="0"/>
              </a:rPr>
              <a:t>?</a:t>
            </a:r>
          </a:p>
          <a:p>
            <a:endParaRPr lang="en-US" sz="1800" dirty="0">
              <a:effectLst/>
              <a:latin typeface="Calibri" panose="020F0502020204030204" pitchFamily="34" charset="0"/>
              <a:ea typeface="Calibri" panose="020F0502020204030204" pitchFamily="34" charset="0"/>
            </a:endParaRPr>
          </a:p>
          <a:p>
            <a:r>
              <a:rPr lang="en-US" sz="1800" dirty="0" err="1">
                <a:effectLst/>
                <a:latin typeface="Calibri" panose="020F0502020204030204" pitchFamily="34" charset="0"/>
                <a:ea typeface="Times New Roman" panose="02020603050405020304" pitchFamily="18" charset="0"/>
              </a:rPr>
              <a:t>Kodlås</a:t>
            </a:r>
            <a:r>
              <a:rPr lang="en-US" sz="1800" dirty="0">
                <a:effectLst/>
                <a:latin typeface="Calibri" panose="020F0502020204030204" pitchFamily="34" charset="0"/>
                <a:ea typeface="Times New Roman" panose="02020603050405020304" pitchFamily="18" charset="0"/>
              </a:rPr>
              <a:t> till </a:t>
            </a:r>
            <a:r>
              <a:rPr lang="en-US" sz="1800" dirty="0" err="1">
                <a:effectLst/>
                <a:latin typeface="Calibri" panose="020F0502020204030204" pitchFamily="34" charset="0"/>
                <a:ea typeface="Times New Roman" panose="02020603050405020304" pitchFamily="18" charset="0"/>
              </a:rPr>
              <a:t>förråde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ledarna</a:t>
            </a:r>
            <a:r>
              <a:rPr lang="en-US" sz="1800" dirty="0">
                <a:effectLst/>
                <a:latin typeface="Calibri" panose="020F0502020204030204" pitchFamily="34" charset="0"/>
                <a:ea typeface="Times New Roman" panose="02020603050405020304" pitchFamily="18" charset="0"/>
              </a:rPr>
              <a:t> tar med sig den </a:t>
            </a:r>
            <a:r>
              <a:rPr lang="en-US" sz="1800" dirty="0" err="1">
                <a:effectLst/>
                <a:latin typeface="Calibri" panose="020F0502020204030204" pitchFamily="34" charset="0"/>
                <a:ea typeface="Times New Roman" panose="02020603050405020304" pitchFamily="18" charset="0"/>
              </a:rPr>
              <a:t>frågan</a:t>
            </a:r>
            <a:r>
              <a:rPr lang="en-US" sz="1800" dirty="0">
                <a:effectLst/>
                <a:latin typeface="Calibri" panose="020F0502020204030204" pitchFamily="34" charset="0"/>
                <a:ea typeface="Times New Roman" panose="02020603050405020304" pitchFamily="18" charset="0"/>
              </a:rPr>
              <a:t> till </a:t>
            </a:r>
            <a:r>
              <a:rPr lang="en-US" sz="1800" dirty="0" err="1">
                <a:effectLst/>
                <a:latin typeface="Calibri" panose="020F0502020204030204" pitchFamily="34" charset="0"/>
                <a:ea typeface="Times New Roman" panose="02020603050405020304" pitchFamily="18" charset="0"/>
              </a:rPr>
              <a:t>nästa</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äsong</a:t>
            </a:r>
            <a:r>
              <a:rPr lang="en-US" sz="1800" dirty="0">
                <a:effectLst/>
                <a:latin typeface="Calibri" panose="020F0502020204030204" pitchFamily="34" charset="0"/>
                <a:ea typeface="Times New Roman" panose="02020603050405020304" pitchFamily="18" charset="0"/>
              </a:rPr>
              <a:t>. I </a:t>
            </a:r>
            <a:r>
              <a:rPr lang="en-US" sz="1800" dirty="0" err="1">
                <a:effectLst/>
                <a:latin typeface="Calibri" panose="020F0502020204030204" pitchFamily="34" charset="0"/>
                <a:ea typeface="Times New Roman" panose="02020603050405020304" pitchFamily="18" charset="0"/>
              </a:rPr>
              <a:t>andra</a:t>
            </a:r>
            <a:r>
              <a:rPr lang="en-US" sz="1800" dirty="0">
                <a:effectLst/>
                <a:latin typeface="Calibri" panose="020F0502020204030204" pitchFamily="34" charset="0"/>
                <a:ea typeface="Times New Roman" panose="02020603050405020304" pitchFamily="18" charset="0"/>
              </a:rPr>
              <a:t> lag </a:t>
            </a:r>
            <a:r>
              <a:rPr lang="en-US" sz="1800" dirty="0" err="1">
                <a:effectLst/>
                <a:latin typeface="Calibri" panose="020F0502020204030204" pitchFamily="34" charset="0"/>
                <a:ea typeface="Times New Roman" panose="02020603050405020304" pitchFamily="18" charset="0"/>
              </a:rPr>
              <a:t>funkar</a:t>
            </a:r>
            <a:r>
              <a:rPr lang="en-US" sz="1800" dirty="0">
                <a:effectLst/>
                <a:latin typeface="Calibri" panose="020F0502020204030204" pitchFamily="34" charset="0"/>
                <a:ea typeface="Times New Roman" panose="02020603050405020304" pitchFamily="18" charset="0"/>
              </a:rPr>
              <a:t> det </a:t>
            </a:r>
            <a:r>
              <a:rPr lang="en-US" sz="1800" dirty="0" err="1">
                <a:effectLst/>
                <a:latin typeface="Calibri" panose="020F0502020204030204" pitchFamily="34" charset="0"/>
                <a:ea typeface="Times New Roman" panose="02020603050405020304" pitchFamily="18" charset="0"/>
              </a:rPr>
              <a:t>och</a:t>
            </a:r>
            <a:r>
              <a:rPr lang="en-US" sz="1800" dirty="0">
                <a:effectLst/>
                <a:latin typeface="Calibri" panose="020F0502020204030204" pitchFamily="34" charset="0"/>
                <a:ea typeface="Times New Roman" panose="02020603050405020304" pitchFamily="18" charset="0"/>
              </a:rPr>
              <a:t> i </a:t>
            </a:r>
            <a:r>
              <a:rPr lang="en-US" sz="1800" dirty="0" err="1">
                <a:effectLst/>
                <a:latin typeface="Calibri" panose="020F0502020204030204" pitchFamily="34" charset="0"/>
                <a:ea typeface="Times New Roman" panose="02020603050405020304" pitchFamily="18" charset="0"/>
              </a:rPr>
              <a:t>andra</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funkar</a:t>
            </a:r>
            <a:r>
              <a:rPr lang="en-US" sz="1800" dirty="0">
                <a:effectLst/>
                <a:latin typeface="Calibri" panose="020F0502020204030204" pitchFamily="34" charset="0"/>
                <a:ea typeface="Times New Roman" panose="02020603050405020304" pitchFamily="18" charset="0"/>
              </a:rPr>
              <a:t> det </a:t>
            </a:r>
            <a:r>
              <a:rPr lang="en-US" sz="1800" dirty="0" err="1">
                <a:effectLst/>
                <a:latin typeface="Calibri" panose="020F0502020204030204" pitchFamily="34" charset="0"/>
                <a:ea typeface="Times New Roman" panose="02020603050405020304" pitchFamily="18" charset="0"/>
              </a:rPr>
              <a:t>inte</a:t>
            </a:r>
            <a:r>
              <a:rPr lang="en-US" sz="1800" dirty="0">
                <a:effectLst/>
                <a:latin typeface="Calibri" panose="020F0502020204030204" pitchFamily="34" charset="0"/>
                <a:ea typeface="Times New Roman" panose="02020603050405020304" pitchFamily="18" charset="0"/>
              </a:rPr>
              <a:t>. Det </a:t>
            </a:r>
            <a:r>
              <a:rPr lang="en-US" sz="1800" dirty="0" err="1">
                <a:effectLst/>
                <a:latin typeface="Calibri" panose="020F0502020204030204" pitchFamily="34" charset="0"/>
                <a:ea typeface="Times New Roman" panose="02020603050405020304" pitchFamily="18" charset="0"/>
              </a:rPr>
              <a:t>ha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tidigare</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vari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tölder</a:t>
            </a:r>
            <a:r>
              <a:rPr lang="en-US" sz="1800" dirty="0">
                <a:effectLst/>
                <a:latin typeface="Calibri" panose="020F0502020204030204" pitchFamily="34" charset="0"/>
                <a:ea typeface="Times New Roman" panose="02020603050405020304" pitchFamily="18" charset="0"/>
              </a:rPr>
              <a:t> i </a:t>
            </a:r>
            <a:r>
              <a:rPr lang="en-US" sz="1800" dirty="0" err="1">
                <a:effectLst/>
                <a:latin typeface="Calibri" panose="020F0502020204030204" pitchFamily="34" charset="0"/>
                <a:ea typeface="Times New Roman" panose="02020603050405020304" pitchFamily="18" charset="0"/>
              </a:rPr>
              <a:t>förråden</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sam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att</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många</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puckar</a:t>
            </a:r>
            <a:r>
              <a:rPr lang="en-US" sz="1800" dirty="0">
                <a:effectLst/>
                <a:latin typeface="Calibri" panose="020F0502020204030204" pitchFamily="34" charset="0"/>
                <a:ea typeface="Times New Roman" panose="02020603050405020304" pitchFamily="18" charset="0"/>
              </a:rPr>
              <a:t> </a:t>
            </a:r>
            <a:r>
              <a:rPr lang="en-US" sz="1800" dirty="0" err="1">
                <a:effectLst/>
                <a:latin typeface="Calibri" panose="020F0502020204030204" pitchFamily="34" charset="0"/>
                <a:ea typeface="Times New Roman" panose="02020603050405020304" pitchFamily="18" charset="0"/>
              </a:rPr>
              <a:t>försvinner</a:t>
            </a:r>
            <a:r>
              <a:rPr lang="en-US" sz="1800" dirty="0">
                <a:effectLst/>
                <a:latin typeface="Calibri" panose="020F0502020204030204" pitchFamily="34" charset="0"/>
                <a:ea typeface="Times New Roman" panose="02020603050405020304" pitchFamily="18" charset="0"/>
              </a:rPr>
              <a:t>.</a:t>
            </a:r>
            <a:endParaRPr lang="en-US" sz="1800" dirty="0">
              <a:effectLst/>
              <a:latin typeface="Calibri" panose="020F0502020204030204" pitchFamily="34" charset="0"/>
              <a:ea typeface="Calibri" panose="020F0502020204030204" pitchFamily="34" charset="0"/>
            </a:endParaRPr>
          </a:p>
          <a:p>
            <a:endParaRPr lang="sv-SE" dirty="0"/>
          </a:p>
        </p:txBody>
      </p:sp>
      <p:sp>
        <p:nvSpPr>
          <p:cNvPr id="4" name="Slide Number Placeholder 3"/>
          <p:cNvSpPr>
            <a:spLocks noGrp="1"/>
          </p:cNvSpPr>
          <p:nvPr>
            <p:ph type="sldNum" sz="quarter" idx="5"/>
          </p:nvPr>
        </p:nvSpPr>
        <p:spPr/>
        <p:txBody>
          <a:bodyPr/>
          <a:lstStyle/>
          <a:p>
            <a:fld id="{29458161-5AF6-4E94-9FF6-87EC53B013B9}" type="slidenum">
              <a:rPr lang="sv-SE" smtClean="0"/>
              <a:t>7</a:t>
            </a:fld>
            <a:endParaRPr lang="sv-SE"/>
          </a:p>
        </p:txBody>
      </p:sp>
    </p:spTree>
    <p:extLst>
      <p:ext uri="{BB962C8B-B14F-4D97-AF65-F5344CB8AC3E}">
        <p14:creationId xmlns:p14="http://schemas.microsoft.com/office/powerpoint/2010/main" val="17285803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3/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061356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043280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793948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31163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99649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64DE79-268F-4C1A-8933-263129D2AF90}" type="datetimeFigureOut">
              <a:rPr lang="en-US" dirty="0"/>
              <a:t>3/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92179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764DE79-268F-4C1A-8933-263129D2AF90}" type="datetimeFigureOut">
              <a:rPr lang="en-US" dirty="0"/>
              <a:t>3/2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649643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3/2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2971043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24/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0950274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4453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486696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3AD74-1E00-40AB-B75F-DBC3BFC2C8EA}"/>
              </a:ext>
            </a:extLst>
          </p:cNvPr>
          <p:cNvGraphicFramePr>
            <a:graphicFrameLocks noChangeAspect="1"/>
          </p:cNvGraphicFramePr>
          <p:nvPr userDrawn="1">
            <p:custDataLst>
              <p:tags r:id="rId13"/>
            </p:custDataLst>
            <p:extLst>
              <p:ext uri="{D42A27DB-BD31-4B8C-83A1-F6EECF244321}">
                <p14:modId xmlns:p14="http://schemas.microsoft.com/office/powerpoint/2010/main" val="283838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8" name="Object 7" hidden="1">
                        <a:extLst>
                          <a:ext uri="{FF2B5EF4-FFF2-40B4-BE49-F238E27FC236}">
                            <a16:creationId xmlns:a16="http://schemas.microsoft.com/office/drawing/2014/main" id="{2B63AD74-1E00-40AB-B75F-DBC3BFC2C8E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4/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8340508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2C4008-6207-4DA5-9EAA-DE8601687E50}"/>
              </a:ext>
            </a:extLst>
          </p:cNvPr>
          <p:cNvGraphicFramePr>
            <a:graphicFrameLocks noChangeAspect="1"/>
          </p:cNvGraphicFramePr>
          <p:nvPr>
            <p:custDataLst>
              <p:tags r:id="rId1"/>
            </p:custDataLst>
            <p:extLst>
              <p:ext uri="{D42A27DB-BD31-4B8C-83A1-F6EECF244321}">
                <p14:modId xmlns:p14="http://schemas.microsoft.com/office/powerpoint/2010/main" val="2464794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8" name="Object 7" hidden="1">
                        <a:extLst>
                          <a:ext uri="{FF2B5EF4-FFF2-40B4-BE49-F238E27FC236}">
                            <a16:creationId xmlns:a16="http://schemas.microsoft.com/office/drawing/2014/main" id="{812C4008-6207-4DA5-9EAA-DE8601687E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52" name="Rectangle 51">
            <a:extLst>
              <a:ext uri="{FF2B5EF4-FFF2-40B4-BE49-F238E27FC236}">
                <a16:creationId xmlns:a16="http://schemas.microsoft.com/office/drawing/2014/main" id="{B95B9BA8-1D69-4796-85F5-B6D0BD5235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a:extLst>
              <a:ext uri="{FF2B5EF4-FFF2-40B4-BE49-F238E27FC236}">
                <a16:creationId xmlns:a16="http://schemas.microsoft.com/office/drawing/2014/main" id="{C1920E3B-E2B5-4603-BB1F-D904173BC797}"/>
              </a:ext>
            </a:extLst>
          </p:cNvPr>
          <p:cNvSpPr>
            <a:spLocks noGrp="1"/>
          </p:cNvSpPr>
          <p:nvPr>
            <p:ph type="title"/>
          </p:nvPr>
        </p:nvSpPr>
        <p:spPr>
          <a:xfrm>
            <a:off x="838201" y="1641752"/>
            <a:ext cx="4394200" cy="1323439"/>
          </a:xfrm>
        </p:spPr>
        <p:txBody>
          <a:bodyPr vert="horz" lIns="91440" tIns="45720" rIns="91440" bIns="45720" rtlCol="0" anchor="t">
            <a:noAutofit/>
          </a:bodyPr>
          <a:lstStyle/>
          <a:p>
            <a:r>
              <a:rPr lang="sv-SE" sz="4000" b="1" dirty="0">
                <a:solidFill>
                  <a:schemeClr val="bg1"/>
                </a:solidFill>
                <a:latin typeface="Calibri"/>
                <a:cs typeface="Calibri"/>
              </a:rPr>
              <a:t>Föräldramöte U10   </a:t>
            </a:r>
            <a:br>
              <a:rPr lang="sv-SE" sz="4000" b="1" dirty="0">
                <a:latin typeface="Calibri"/>
              </a:rPr>
            </a:br>
            <a:r>
              <a:rPr lang="sv-SE" sz="4000" b="1" dirty="0">
                <a:solidFill>
                  <a:schemeClr val="bg1"/>
                </a:solidFill>
                <a:latin typeface="Calibri"/>
                <a:cs typeface="Calibri"/>
              </a:rPr>
              <a:t> 17e mars - Agenda</a:t>
            </a:r>
          </a:p>
        </p:txBody>
      </p:sp>
      <p:sp>
        <p:nvSpPr>
          <p:cNvPr id="3" name="Platshållare för innehåll 2">
            <a:extLst>
              <a:ext uri="{FF2B5EF4-FFF2-40B4-BE49-F238E27FC236}">
                <a16:creationId xmlns:a16="http://schemas.microsoft.com/office/drawing/2014/main" id="{9B7A8404-BC8F-470F-9678-2C9D41654957}"/>
              </a:ext>
            </a:extLst>
          </p:cNvPr>
          <p:cNvSpPr>
            <a:spLocks noGrp="1"/>
          </p:cNvSpPr>
          <p:nvPr>
            <p:ph idx="1"/>
          </p:nvPr>
        </p:nvSpPr>
        <p:spPr>
          <a:xfrm>
            <a:off x="838201" y="3146400"/>
            <a:ext cx="4394200" cy="2843075"/>
          </a:xfrm>
        </p:spPr>
        <p:txBody>
          <a:bodyPr vert="horz" lIns="91440" tIns="45720" rIns="91440" bIns="45720" rtlCol="0" anchor="t">
            <a:noAutofit/>
          </a:bodyPr>
          <a:lstStyle/>
          <a:p>
            <a:r>
              <a:rPr lang="sv-SE" sz="2000" dirty="0">
                <a:solidFill>
                  <a:schemeClr val="bg1">
                    <a:alpha val="80000"/>
                  </a:schemeClr>
                </a:solidFill>
              </a:rPr>
              <a:t>Säsongen 21/22</a:t>
            </a:r>
            <a:endParaRPr lang="sv-SE" sz="2000" dirty="0">
              <a:solidFill>
                <a:schemeClr val="bg1">
                  <a:alpha val="80000"/>
                </a:schemeClr>
              </a:solidFill>
              <a:ea typeface="Calibri"/>
              <a:cs typeface="Calibri"/>
            </a:endParaRPr>
          </a:p>
          <a:p>
            <a:r>
              <a:rPr lang="sv-SE" sz="2000" dirty="0">
                <a:solidFill>
                  <a:schemeClr val="bg1">
                    <a:alpha val="80000"/>
                  </a:schemeClr>
                </a:solidFill>
              </a:rPr>
              <a:t>Kiosk och parkeringspass Sandra Högman Kioskansvarig</a:t>
            </a:r>
            <a:endParaRPr lang="sv-SE" sz="2000" dirty="0">
              <a:solidFill>
                <a:schemeClr val="bg1">
                  <a:alpha val="80000"/>
                </a:schemeClr>
              </a:solidFill>
              <a:ea typeface="Calibri"/>
              <a:cs typeface="Calibri"/>
            </a:endParaRPr>
          </a:p>
          <a:p>
            <a:r>
              <a:rPr lang="sv-SE" sz="2000" dirty="0">
                <a:solidFill>
                  <a:schemeClr val="bg1">
                    <a:alpha val="80000"/>
                  </a:schemeClr>
                </a:solidFill>
              </a:rPr>
              <a:t>Vasa Cup Linda Nilsson Cupgeneral</a:t>
            </a:r>
            <a:endParaRPr lang="sv-SE" sz="2000" dirty="0">
              <a:solidFill>
                <a:schemeClr val="bg1">
                  <a:alpha val="80000"/>
                </a:schemeClr>
              </a:solidFill>
              <a:ea typeface="Calibri"/>
              <a:cs typeface="Calibri"/>
            </a:endParaRPr>
          </a:p>
          <a:p>
            <a:r>
              <a:rPr lang="sv-SE" sz="2000" dirty="0">
                <a:solidFill>
                  <a:schemeClr val="bg1">
                    <a:alpha val="80000"/>
                  </a:schemeClr>
                </a:solidFill>
              </a:rPr>
              <a:t>Kommande försäljning </a:t>
            </a:r>
            <a:endParaRPr lang="sv-SE" sz="2000" dirty="0">
              <a:solidFill>
                <a:schemeClr val="bg1">
                  <a:alpha val="80000"/>
                </a:schemeClr>
              </a:solidFill>
              <a:ea typeface="Calibri"/>
              <a:cs typeface="Calibri"/>
            </a:endParaRPr>
          </a:p>
          <a:p>
            <a:r>
              <a:rPr lang="sv-SE" sz="2000" dirty="0">
                <a:solidFill>
                  <a:schemeClr val="bg1">
                    <a:alpha val="80000"/>
                  </a:schemeClr>
                </a:solidFill>
              </a:rPr>
              <a:t>Ekonomi</a:t>
            </a:r>
            <a:endParaRPr lang="sv-SE" sz="2000" dirty="0">
              <a:solidFill>
                <a:schemeClr val="bg1">
                  <a:alpha val="80000"/>
                </a:schemeClr>
              </a:solidFill>
              <a:ea typeface="Calibri"/>
              <a:cs typeface="Calibri"/>
            </a:endParaRPr>
          </a:p>
          <a:p>
            <a:r>
              <a:rPr lang="nn-NO" sz="2000" dirty="0" err="1">
                <a:solidFill>
                  <a:schemeClr val="bg1">
                    <a:alpha val="80000"/>
                  </a:schemeClr>
                </a:solidFill>
                <a:ea typeface="Calibri"/>
                <a:cs typeface="Calibri" panose="020F0502020204030204"/>
              </a:rPr>
              <a:t>Övrigt</a:t>
            </a:r>
            <a:endParaRPr lang="nn-NO" sz="2000" dirty="0">
              <a:solidFill>
                <a:schemeClr val="bg1">
                  <a:alpha val="80000"/>
                </a:schemeClr>
              </a:solidFill>
              <a:ea typeface="Calibri"/>
              <a:cs typeface="Calibri" panose="020F0502020204030204"/>
            </a:endParaRPr>
          </a:p>
          <a:p>
            <a:endParaRPr lang="nn-NO" sz="1700" b="1" dirty="0">
              <a:solidFill>
                <a:schemeClr val="bg1">
                  <a:alpha val="80000"/>
                </a:schemeClr>
              </a:solidFill>
              <a:ea typeface="Calibri"/>
              <a:cs typeface="Calibri" panose="020F0502020204030204"/>
            </a:endParaRPr>
          </a:p>
          <a:p>
            <a:endParaRPr lang="nn-NO" sz="1700" dirty="0">
              <a:solidFill>
                <a:schemeClr val="bg1">
                  <a:alpha val="80000"/>
                </a:schemeClr>
              </a:solidFill>
              <a:cs typeface="Calibri" panose="020F0502020204030204"/>
            </a:endParaRPr>
          </a:p>
          <a:p>
            <a:endParaRPr lang="nn-NO" sz="1700" dirty="0">
              <a:solidFill>
                <a:schemeClr val="bg1">
                  <a:alpha val="80000"/>
                </a:schemeClr>
              </a:solidFill>
              <a:cs typeface="Calibri" panose="020F0502020204030204"/>
            </a:endParaRPr>
          </a:p>
          <a:p>
            <a:endParaRPr lang="sv-SE" sz="1700" dirty="0">
              <a:solidFill>
                <a:schemeClr val="bg1">
                  <a:alpha val="80000"/>
                </a:schemeClr>
              </a:solidFill>
              <a:cs typeface="Calibri" panose="020F0502020204030204"/>
            </a:endParaRPr>
          </a:p>
          <a:p>
            <a:endParaRPr lang="sv-SE" sz="1700" dirty="0">
              <a:solidFill>
                <a:schemeClr val="bg1">
                  <a:alpha val="80000"/>
                </a:schemeClr>
              </a:solidFill>
              <a:cs typeface="Calibri" panose="020F0502020204030204"/>
            </a:endParaRPr>
          </a:p>
          <a:p>
            <a:endParaRPr lang="sv-SE" sz="1700" dirty="0">
              <a:solidFill>
                <a:schemeClr val="bg1">
                  <a:alpha val="80000"/>
                </a:schemeClr>
              </a:solidFill>
              <a:cs typeface="Calibri" panose="020F0502020204030204"/>
            </a:endParaRPr>
          </a:p>
        </p:txBody>
      </p:sp>
      <p:pic>
        <p:nvPicPr>
          <p:cNvPr id="6" name="Bildobjekt 6" descr="En bild som visar text, clipart&#10;&#10;Automatiskt genererad beskrivning">
            <a:extLst>
              <a:ext uri="{FF2B5EF4-FFF2-40B4-BE49-F238E27FC236}">
                <a16:creationId xmlns:a16="http://schemas.microsoft.com/office/drawing/2014/main" id="{EB5BD8D7-A4BE-4B84-8CA2-52D8970675D2}"/>
              </a:ext>
            </a:extLst>
          </p:cNvPr>
          <p:cNvPicPr>
            <a:picLocks noChangeAspect="1"/>
          </p:cNvPicPr>
          <p:nvPr/>
        </p:nvPicPr>
        <p:blipFill rotWithShape="1">
          <a:blip r:embed="rId6"/>
          <a:srcRect t="9581"/>
          <a:stretch/>
        </p:blipFill>
        <p:spPr>
          <a:xfrm>
            <a:off x="5814060" y="2"/>
            <a:ext cx="6377940" cy="3333749"/>
          </a:xfrm>
          <a:custGeom>
            <a:avLst/>
            <a:gdLst/>
            <a:ahLst/>
            <a:cxnLst/>
            <a:rect l="l" t="t" r="r" b="b"/>
            <a:pathLst>
              <a:path w="6377940" h="3333749">
                <a:moveTo>
                  <a:pt x="0" y="0"/>
                </a:moveTo>
                <a:lnTo>
                  <a:pt x="6377940" y="0"/>
                </a:lnTo>
                <a:lnTo>
                  <a:pt x="6377940" y="3333749"/>
                </a:lnTo>
                <a:lnTo>
                  <a:pt x="174585" y="3333749"/>
                </a:lnTo>
                <a:lnTo>
                  <a:pt x="0" y="2202180"/>
                </a:lnTo>
                <a:close/>
              </a:path>
            </a:pathLst>
          </a:custGeom>
        </p:spPr>
      </p:pic>
      <p:pic>
        <p:nvPicPr>
          <p:cNvPr id="5" name="Bildobjekt 5" descr="En bild som visar text, clipart&#10;&#10;Automatiskt genererad beskrivning">
            <a:extLst>
              <a:ext uri="{FF2B5EF4-FFF2-40B4-BE49-F238E27FC236}">
                <a16:creationId xmlns:a16="http://schemas.microsoft.com/office/drawing/2014/main" id="{2D94DA01-7628-4400-8EB8-477AF37DA8DD}"/>
              </a:ext>
            </a:extLst>
          </p:cNvPr>
          <p:cNvPicPr>
            <a:picLocks noChangeAspect="1"/>
          </p:cNvPicPr>
          <p:nvPr/>
        </p:nvPicPr>
        <p:blipFill rotWithShape="1">
          <a:blip r:embed="rId6"/>
          <a:srcRect t="9581"/>
          <a:stretch/>
        </p:blipFill>
        <p:spPr>
          <a:xfrm>
            <a:off x="5814060" y="3524252"/>
            <a:ext cx="6377940" cy="3333748"/>
          </a:xfrm>
          <a:custGeom>
            <a:avLst/>
            <a:gdLst/>
            <a:ahLst/>
            <a:cxnLst/>
            <a:rect l="l" t="t" r="r" b="b"/>
            <a:pathLst>
              <a:path w="6377940" h="3333748">
                <a:moveTo>
                  <a:pt x="203977" y="0"/>
                </a:moveTo>
                <a:lnTo>
                  <a:pt x="6377940" y="0"/>
                </a:lnTo>
                <a:lnTo>
                  <a:pt x="6377940" y="3333748"/>
                </a:lnTo>
                <a:lnTo>
                  <a:pt x="0" y="3333748"/>
                </a:lnTo>
                <a:lnTo>
                  <a:pt x="525780" y="1931668"/>
                </a:lnTo>
                <a:lnTo>
                  <a:pt x="205740" y="11428"/>
                </a:lnTo>
                <a:close/>
              </a:path>
            </a:pathLst>
          </a:custGeom>
        </p:spPr>
      </p:pic>
      <p:grpSp>
        <p:nvGrpSpPr>
          <p:cNvPr id="54" name="Group 53">
            <a:extLst>
              <a:ext uri="{FF2B5EF4-FFF2-40B4-BE49-F238E27FC236}">
                <a16:creationId xmlns:a16="http://schemas.microsoft.com/office/drawing/2014/main" id="{364A290D-B7BC-40B4-AB97-0C801BCCE26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632358" y="544"/>
            <a:ext cx="874716" cy="6857455"/>
            <a:chOff x="5632358" y="544"/>
            <a:chExt cx="874716" cy="6857455"/>
          </a:xfrm>
        </p:grpSpPr>
        <p:sp>
          <p:nvSpPr>
            <p:cNvPr id="55" name="Freeform: Shape 54">
              <a:extLst>
                <a:ext uri="{FF2B5EF4-FFF2-40B4-BE49-F238E27FC236}">
                  <a16:creationId xmlns:a16="http://schemas.microsoft.com/office/drawing/2014/main" id="{3C60D1EB-842B-4027-9728-E5731492669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H="1">
              <a:off x="2640988" y="2991914"/>
              <a:ext cx="6857455" cy="874716"/>
            </a:xfrm>
            <a:custGeom>
              <a:avLst/>
              <a:gdLst>
                <a:gd name="connsiteX0" fmla="*/ 6857455 w 6857455"/>
                <a:gd name="connsiteY0" fmla="*/ 804643 h 874716"/>
                <a:gd name="connsiteX1" fmla="*/ 6857455 w 6857455"/>
                <a:gd name="connsiteY1" fmla="*/ 562246 h 874716"/>
                <a:gd name="connsiteX2" fmla="*/ 6829178 w 6857455"/>
                <a:gd name="connsiteY2" fmla="*/ 551284 h 874716"/>
                <a:gd name="connsiteX3" fmla="*/ 6766024 w 6857455"/>
                <a:gd name="connsiteY3" fmla="*/ 500372 h 874716"/>
                <a:gd name="connsiteX4" fmla="*/ 6734971 w 6857455"/>
                <a:gd name="connsiteY4" fmla="*/ 500944 h 874716"/>
                <a:gd name="connsiteX5" fmla="*/ 6683915 w 6857455"/>
                <a:gd name="connsiteY5" fmla="*/ 507040 h 874716"/>
                <a:gd name="connsiteX6" fmla="*/ 6628860 w 6857455"/>
                <a:gd name="connsiteY6" fmla="*/ 495418 h 874716"/>
                <a:gd name="connsiteX7" fmla="*/ 6588662 w 6857455"/>
                <a:gd name="connsiteY7" fmla="*/ 487227 h 874716"/>
                <a:gd name="connsiteX8" fmla="*/ 6476074 w 6857455"/>
                <a:gd name="connsiteY8" fmla="*/ 511230 h 874716"/>
                <a:gd name="connsiteX9" fmla="*/ 6382345 w 6857455"/>
                <a:gd name="connsiteY9" fmla="*/ 534853 h 874716"/>
                <a:gd name="connsiteX10" fmla="*/ 6369391 w 6857455"/>
                <a:gd name="connsiteY10" fmla="*/ 531615 h 874716"/>
                <a:gd name="connsiteX11" fmla="*/ 6244799 w 6857455"/>
                <a:gd name="connsiteY11" fmla="*/ 512182 h 874716"/>
                <a:gd name="connsiteX12" fmla="*/ 6190315 w 6857455"/>
                <a:gd name="connsiteY12" fmla="*/ 485703 h 874716"/>
                <a:gd name="connsiteX13" fmla="*/ 6115446 w 6857455"/>
                <a:gd name="connsiteY13" fmla="*/ 462270 h 874716"/>
                <a:gd name="connsiteX14" fmla="*/ 6032194 w 6857455"/>
                <a:gd name="connsiteY14" fmla="*/ 434266 h 874716"/>
                <a:gd name="connsiteX15" fmla="*/ 5971042 w 6857455"/>
                <a:gd name="connsiteY15" fmla="*/ 420738 h 874716"/>
                <a:gd name="connsiteX16" fmla="*/ 5880933 w 6857455"/>
                <a:gd name="connsiteY16" fmla="*/ 430646 h 874716"/>
                <a:gd name="connsiteX17" fmla="*/ 5862452 w 6857455"/>
                <a:gd name="connsiteY17" fmla="*/ 438648 h 874716"/>
                <a:gd name="connsiteX18" fmla="*/ 5685283 w 6857455"/>
                <a:gd name="connsiteY18" fmla="*/ 498658 h 874716"/>
                <a:gd name="connsiteX19" fmla="*/ 5567169 w 6857455"/>
                <a:gd name="connsiteY19" fmla="*/ 499420 h 874716"/>
                <a:gd name="connsiteX20" fmla="*/ 5527923 w 6857455"/>
                <a:gd name="connsiteY20" fmla="*/ 490466 h 874716"/>
                <a:gd name="connsiteX21" fmla="*/ 5456292 w 6857455"/>
                <a:gd name="connsiteY21" fmla="*/ 450650 h 874716"/>
                <a:gd name="connsiteX22" fmla="*/ 5424670 w 6857455"/>
                <a:gd name="connsiteY22" fmla="*/ 444934 h 874716"/>
                <a:gd name="connsiteX23" fmla="*/ 5368662 w 6857455"/>
                <a:gd name="connsiteY23" fmla="*/ 441124 h 874716"/>
                <a:gd name="connsiteX24" fmla="*/ 5247118 w 6857455"/>
                <a:gd name="connsiteY24" fmla="*/ 444934 h 874716"/>
                <a:gd name="connsiteX25" fmla="*/ 5088617 w 6857455"/>
                <a:gd name="connsiteY25" fmla="*/ 428742 h 874716"/>
                <a:gd name="connsiteX26" fmla="*/ 5025750 w 6857455"/>
                <a:gd name="connsiteY26" fmla="*/ 433694 h 874716"/>
                <a:gd name="connsiteX27" fmla="*/ 4957930 w 6857455"/>
                <a:gd name="connsiteY27" fmla="*/ 442268 h 874716"/>
                <a:gd name="connsiteX28" fmla="*/ 4938116 w 6857455"/>
                <a:gd name="connsiteY28" fmla="*/ 441886 h 874716"/>
                <a:gd name="connsiteX29" fmla="*/ 4833910 w 6857455"/>
                <a:gd name="connsiteY29" fmla="*/ 421693 h 874716"/>
                <a:gd name="connsiteX30" fmla="*/ 4810095 w 6857455"/>
                <a:gd name="connsiteY30" fmla="*/ 408167 h 874716"/>
                <a:gd name="connsiteX31" fmla="*/ 4747991 w 6857455"/>
                <a:gd name="connsiteY31" fmla="*/ 413691 h 874716"/>
                <a:gd name="connsiteX32" fmla="*/ 4692745 w 6857455"/>
                <a:gd name="connsiteY32" fmla="*/ 435790 h 874716"/>
                <a:gd name="connsiteX33" fmla="*/ 4375933 w 6857455"/>
                <a:gd name="connsiteY33" fmla="*/ 483417 h 874716"/>
                <a:gd name="connsiteX34" fmla="*/ 4185426 w 6857455"/>
                <a:gd name="connsiteY34" fmla="*/ 484179 h 874716"/>
                <a:gd name="connsiteX35" fmla="*/ 4052072 w 6857455"/>
                <a:gd name="connsiteY35" fmla="*/ 505134 h 874716"/>
                <a:gd name="connsiteX36" fmla="*/ 4029973 w 6857455"/>
                <a:gd name="connsiteY36" fmla="*/ 527233 h 874716"/>
                <a:gd name="connsiteX37" fmla="*/ 3948626 w 6857455"/>
                <a:gd name="connsiteY37" fmla="*/ 550666 h 874716"/>
                <a:gd name="connsiteX38" fmla="*/ 3871280 w 6857455"/>
                <a:gd name="connsiteY38" fmla="*/ 502275 h 874716"/>
                <a:gd name="connsiteX39" fmla="*/ 3774312 w 6857455"/>
                <a:gd name="connsiteY39" fmla="*/ 429122 h 874716"/>
                <a:gd name="connsiteX40" fmla="*/ 3721543 w 6857455"/>
                <a:gd name="connsiteY40" fmla="*/ 428552 h 874716"/>
                <a:gd name="connsiteX41" fmla="*/ 3612763 w 6857455"/>
                <a:gd name="connsiteY41" fmla="*/ 414263 h 874716"/>
                <a:gd name="connsiteX42" fmla="*/ 3537323 w 6857455"/>
                <a:gd name="connsiteY42" fmla="*/ 389878 h 874716"/>
                <a:gd name="connsiteX43" fmla="*/ 3431593 w 6857455"/>
                <a:gd name="connsiteY43" fmla="*/ 360921 h 874716"/>
                <a:gd name="connsiteX44" fmla="*/ 3392158 w 6857455"/>
                <a:gd name="connsiteY44" fmla="*/ 345681 h 874716"/>
                <a:gd name="connsiteX45" fmla="*/ 3297856 w 6857455"/>
                <a:gd name="connsiteY45" fmla="*/ 323010 h 874716"/>
                <a:gd name="connsiteX46" fmla="*/ 3219748 w 6857455"/>
                <a:gd name="connsiteY46" fmla="*/ 308151 h 874716"/>
                <a:gd name="connsiteX47" fmla="*/ 3156692 w 6857455"/>
                <a:gd name="connsiteY47" fmla="*/ 261668 h 874716"/>
                <a:gd name="connsiteX48" fmla="*/ 3136497 w 6857455"/>
                <a:gd name="connsiteY48" fmla="*/ 237663 h 874716"/>
                <a:gd name="connsiteX49" fmla="*/ 3119733 w 6857455"/>
                <a:gd name="connsiteY49" fmla="*/ 222233 h 874716"/>
                <a:gd name="connsiteX50" fmla="*/ 3045436 w 6857455"/>
                <a:gd name="connsiteY50" fmla="*/ 131742 h 874716"/>
                <a:gd name="connsiteX51" fmla="*/ 3037054 w 6857455"/>
                <a:gd name="connsiteY51" fmla="*/ 124121 h 874716"/>
                <a:gd name="connsiteX52" fmla="*/ 2936466 w 6857455"/>
                <a:gd name="connsiteY52" fmla="*/ 82400 h 874716"/>
                <a:gd name="connsiteX53" fmla="*/ 2901031 w 6857455"/>
                <a:gd name="connsiteY53" fmla="*/ 59731 h 874716"/>
                <a:gd name="connsiteX54" fmla="*/ 2828259 w 6857455"/>
                <a:gd name="connsiteY54" fmla="*/ 3149 h 874716"/>
                <a:gd name="connsiteX55" fmla="*/ 2799492 w 6857455"/>
                <a:gd name="connsiteY55" fmla="*/ 1245 h 874716"/>
                <a:gd name="connsiteX56" fmla="*/ 2693570 w 6857455"/>
                <a:gd name="connsiteY56" fmla="*/ 35154 h 874716"/>
                <a:gd name="connsiteX57" fmla="*/ 2639847 w 6857455"/>
                <a:gd name="connsiteY57" fmla="*/ 73448 h 874716"/>
                <a:gd name="connsiteX58" fmla="*/ 2621178 w 6857455"/>
                <a:gd name="connsiteY58" fmla="*/ 88688 h 874716"/>
                <a:gd name="connsiteX59" fmla="*/ 2489348 w 6857455"/>
                <a:gd name="connsiteY59" fmla="*/ 72304 h 874716"/>
                <a:gd name="connsiteX60" fmla="*/ 2452580 w 6857455"/>
                <a:gd name="connsiteY60" fmla="*/ 68683 h 874716"/>
                <a:gd name="connsiteX61" fmla="*/ 2326464 w 6857455"/>
                <a:gd name="connsiteY61" fmla="*/ 50395 h 874716"/>
                <a:gd name="connsiteX62" fmla="*/ 2300365 w 6857455"/>
                <a:gd name="connsiteY62" fmla="*/ 54777 h 874716"/>
                <a:gd name="connsiteX63" fmla="*/ 2130434 w 6857455"/>
                <a:gd name="connsiteY63" fmla="*/ 58397 h 874716"/>
                <a:gd name="connsiteX64" fmla="*/ 2118621 w 6857455"/>
                <a:gd name="connsiteY64" fmla="*/ 47919 h 874716"/>
                <a:gd name="connsiteX65" fmla="*/ 2057659 w 6857455"/>
                <a:gd name="connsiteY65" fmla="*/ 16866 h 874716"/>
                <a:gd name="connsiteX66" fmla="*/ 1976314 w 6857455"/>
                <a:gd name="connsiteY66" fmla="*/ 8865 h 874716"/>
                <a:gd name="connsiteX67" fmla="*/ 1961454 w 6857455"/>
                <a:gd name="connsiteY67" fmla="*/ 11724 h 874716"/>
                <a:gd name="connsiteX68" fmla="*/ 1906588 w 6857455"/>
                <a:gd name="connsiteY68" fmla="*/ 30964 h 874716"/>
                <a:gd name="connsiteX69" fmla="*/ 1783330 w 6857455"/>
                <a:gd name="connsiteY69" fmla="*/ 48871 h 874716"/>
                <a:gd name="connsiteX70" fmla="*/ 1759327 w 6857455"/>
                <a:gd name="connsiteY70" fmla="*/ 55349 h 874716"/>
                <a:gd name="connsiteX71" fmla="*/ 1716082 w 6857455"/>
                <a:gd name="connsiteY71" fmla="*/ 65445 h 874716"/>
                <a:gd name="connsiteX72" fmla="*/ 1598920 w 6857455"/>
                <a:gd name="connsiteY72" fmla="*/ 72114 h 874716"/>
                <a:gd name="connsiteX73" fmla="*/ 1542150 w 6857455"/>
                <a:gd name="connsiteY73" fmla="*/ 62207 h 874716"/>
                <a:gd name="connsiteX74" fmla="*/ 1516813 w 6857455"/>
                <a:gd name="connsiteY74" fmla="*/ 62779 h 874716"/>
                <a:gd name="connsiteX75" fmla="*/ 1432228 w 6857455"/>
                <a:gd name="connsiteY75" fmla="*/ 88116 h 874716"/>
                <a:gd name="connsiteX76" fmla="*/ 1224765 w 6857455"/>
                <a:gd name="connsiteY76" fmla="*/ 71924 h 874716"/>
                <a:gd name="connsiteX77" fmla="*/ 1159231 w 6857455"/>
                <a:gd name="connsiteY77" fmla="*/ 58207 h 874716"/>
                <a:gd name="connsiteX78" fmla="*/ 1124370 w 6857455"/>
                <a:gd name="connsiteY78" fmla="*/ 56301 h 874716"/>
                <a:gd name="connsiteX79" fmla="*/ 1075600 w 6857455"/>
                <a:gd name="connsiteY79" fmla="*/ 75542 h 874716"/>
                <a:gd name="connsiteX80" fmla="*/ 986633 w 6857455"/>
                <a:gd name="connsiteY80" fmla="*/ 79162 h 874716"/>
                <a:gd name="connsiteX81" fmla="*/ 861089 w 6857455"/>
                <a:gd name="connsiteY81" fmla="*/ 76304 h 874716"/>
                <a:gd name="connsiteX82" fmla="*/ 759168 w 6857455"/>
                <a:gd name="connsiteY82" fmla="*/ 104689 h 874716"/>
                <a:gd name="connsiteX83" fmla="*/ 723735 w 6857455"/>
                <a:gd name="connsiteY83" fmla="*/ 140696 h 874716"/>
                <a:gd name="connsiteX84" fmla="*/ 647532 w 6857455"/>
                <a:gd name="connsiteY84" fmla="*/ 147934 h 874716"/>
                <a:gd name="connsiteX85" fmla="*/ 552659 w 6857455"/>
                <a:gd name="connsiteY85" fmla="*/ 95926 h 874716"/>
                <a:gd name="connsiteX86" fmla="*/ 541800 w 6857455"/>
                <a:gd name="connsiteY86" fmla="*/ 97640 h 874716"/>
                <a:gd name="connsiteX87" fmla="*/ 375107 w 6857455"/>
                <a:gd name="connsiteY87" fmla="*/ 123169 h 874716"/>
                <a:gd name="connsiteX88" fmla="*/ 273567 w 6857455"/>
                <a:gd name="connsiteY88" fmla="*/ 145458 h 874716"/>
                <a:gd name="connsiteX89" fmla="*/ 264043 w 6857455"/>
                <a:gd name="connsiteY89" fmla="*/ 154792 h 874716"/>
                <a:gd name="connsiteX90" fmla="*/ 169360 w 6857455"/>
                <a:gd name="connsiteY90" fmla="*/ 177273 h 874716"/>
                <a:gd name="connsiteX91" fmla="*/ 89347 w 6857455"/>
                <a:gd name="connsiteY91" fmla="*/ 157460 h 874716"/>
                <a:gd name="connsiteX92" fmla="*/ 34291 w 6857455"/>
                <a:gd name="connsiteY92" fmla="*/ 145268 h 874716"/>
                <a:gd name="connsiteX93" fmla="*/ 0 w 6857455"/>
                <a:gd name="connsiteY93" fmla="*/ 142056 h 874716"/>
                <a:gd name="connsiteX94" fmla="*/ 0 w 6857455"/>
                <a:gd name="connsiteY94" fmla="*/ 849556 h 874716"/>
                <a:gd name="connsiteX95" fmla="*/ 60652 w 6857455"/>
                <a:gd name="connsiteY95" fmla="*/ 844783 h 874716"/>
                <a:gd name="connsiteX96" fmla="*/ 119068 w 6857455"/>
                <a:gd name="connsiteY96" fmla="*/ 827281 h 874716"/>
                <a:gd name="connsiteX97" fmla="*/ 171840 w 6857455"/>
                <a:gd name="connsiteY97" fmla="*/ 804420 h 874716"/>
                <a:gd name="connsiteX98" fmla="*/ 274329 w 6857455"/>
                <a:gd name="connsiteY98" fmla="*/ 794324 h 874716"/>
                <a:gd name="connsiteX99" fmla="*/ 306715 w 6857455"/>
                <a:gd name="connsiteY99" fmla="*/ 788798 h 874716"/>
                <a:gd name="connsiteX100" fmla="*/ 393967 w 6857455"/>
                <a:gd name="connsiteY100" fmla="*/ 765937 h 874716"/>
                <a:gd name="connsiteX101" fmla="*/ 493793 w 6857455"/>
                <a:gd name="connsiteY101" fmla="*/ 725549 h 874716"/>
                <a:gd name="connsiteX102" fmla="*/ 546373 w 6857455"/>
                <a:gd name="connsiteY102" fmla="*/ 740600 h 874716"/>
                <a:gd name="connsiteX103" fmla="*/ 730211 w 6857455"/>
                <a:gd name="connsiteY103" fmla="*/ 698116 h 874716"/>
                <a:gd name="connsiteX104" fmla="*/ 784889 w 6857455"/>
                <a:gd name="connsiteY104" fmla="*/ 676018 h 874716"/>
                <a:gd name="connsiteX105" fmla="*/ 800509 w 6857455"/>
                <a:gd name="connsiteY105" fmla="*/ 661349 h 874716"/>
                <a:gd name="connsiteX106" fmla="*/ 857661 w 6857455"/>
                <a:gd name="connsiteY106" fmla="*/ 626868 h 874716"/>
                <a:gd name="connsiteX107" fmla="*/ 949102 w 6857455"/>
                <a:gd name="connsiteY107" fmla="*/ 614676 h 874716"/>
                <a:gd name="connsiteX108" fmla="*/ 960342 w 6857455"/>
                <a:gd name="connsiteY108" fmla="*/ 607435 h 874716"/>
                <a:gd name="connsiteX109" fmla="*/ 977109 w 6857455"/>
                <a:gd name="connsiteY109" fmla="*/ 595815 h 874716"/>
                <a:gd name="connsiteX110" fmla="*/ 1071218 w 6857455"/>
                <a:gd name="connsiteY110" fmla="*/ 575240 h 874716"/>
                <a:gd name="connsiteX111" fmla="*/ 1091983 w 6857455"/>
                <a:gd name="connsiteY111" fmla="*/ 568764 h 874716"/>
                <a:gd name="connsiteX112" fmla="*/ 1109321 w 6857455"/>
                <a:gd name="connsiteY112" fmla="*/ 557904 h 874716"/>
                <a:gd name="connsiteX113" fmla="*/ 1162279 w 6857455"/>
                <a:gd name="connsiteY113" fmla="*/ 532949 h 874716"/>
                <a:gd name="connsiteX114" fmla="*/ 1206097 w 6857455"/>
                <a:gd name="connsiteY114" fmla="*/ 532187 h 874716"/>
                <a:gd name="connsiteX115" fmla="*/ 1266867 w 6857455"/>
                <a:gd name="connsiteY115" fmla="*/ 518088 h 874716"/>
                <a:gd name="connsiteX116" fmla="*/ 1380219 w 6857455"/>
                <a:gd name="connsiteY116" fmla="*/ 504182 h 874716"/>
                <a:gd name="connsiteX117" fmla="*/ 1403461 w 6857455"/>
                <a:gd name="connsiteY117" fmla="*/ 496180 h 874716"/>
                <a:gd name="connsiteX118" fmla="*/ 1544054 w 6857455"/>
                <a:gd name="connsiteY118" fmla="*/ 458268 h 874716"/>
                <a:gd name="connsiteX119" fmla="*/ 1656644 w 6857455"/>
                <a:gd name="connsiteY119" fmla="*/ 459032 h 874716"/>
                <a:gd name="connsiteX120" fmla="*/ 1665406 w 6857455"/>
                <a:gd name="connsiteY120" fmla="*/ 460747 h 874716"/>
                <a:gd name="connsiteX121" fmla="*/ 1708461 w 6857455"/>
                <a:gd name="connsiteY121" fmla="*/ 473318 h 874716"/>
                <a:gd name="connsiteX122" fmla="*/ 1775140 w 6857455"/>
                <a:gd name="connsiteY122" fmla="*/ 469891 h 874716"/>
                <a:gd name="connsiteX123" fmla="*/ 1821051 w 6857455"/>
                <a:gd name="connsiteY123" fmla="*/ 452554 h 874716"/>
                <a:gd name="connsiteX124" fmla="*/ 1878203 w 6857455"/>
                <a:gd name="connsiteY124" fmla="*/ 451792 h 874716"/>
                <a:gd name="connsiteX125" fmla="*/ 1943547 w 6857455"/>
                <a:gd name="connsiteY125" fmla="*/ 462651 h 874716"/>
                <a:gd name="connsiteX126" fmla="*/ 1972884 w 6857455"/>
                <a:gd name="connsiteY126" fmla="*/ 464937 h 874716"/>
                <a:gd name="connsiteX127" fmla="*/ 2053469 w 6857455"/>
                <a:gd name="connsiteY127" fmla="*/ 487417 h 874716"/>
                <a:gd name="connsiteX128" fmla="*/ 2101477 w 6857455"/>
                <a:gd name="connsiteY128" fmla="*/ 481893 h 874716"/>
                <a:gd name="connsiteX129" fmla="*/ 2148722 w 6857455"/>
                <a:gd name="connsiteY129" fmla="*/ 467033 h 874716"/>
                <a:gd name="connsiteX130" fmla="*/ 2179011 w 6857455"/>
                <a:gd name="connsiteY130" fmla="*/ 452744 h 874716"/>
                <a:gd name="connsiteX131" fmla="*/ 2240165 w 6857455"/>
                <a:gd name="connsiteY131" fmla="*/ 442648 h 874716"/>
                <a:gd name="connsiteX132" fmla="*/ 2251404 w 6857455"/>
                <a:gd name="connsiteY132" fmla="*/ 444172 h 874716"/>
                <a:gd name="connsiteX133" fmla="*/ 2433912 w 6857455"/>
                <a:gd name="connsiteY133" fmla="*/ 456746 h 874716"/>
                <a:gd name="connsiteX134" fmla="*/ 2506302 w 6857455"/>
                <a:gd name="connsiteY134" fmla="*/ 476939 h 874716"/>
                <a:gd name="connsiteX135" fmla="*/ 2521735 w 6857455"/>
                <a:gd name="connsiteY135" fmla="*/ 479415 h 874716"/>
                <a:gd name="connsiteX136" fmla="*/ 2675854 w 6857455"/>
                <a:gd name="connsiteY136" fmla="*/ 502086 h 874716"/>
                <a:gd name="connsiteX137" fmla="*/ 2692998 w 6857455"/>
                <a:gd name="connsiteY137" fmla="*/ 503038 h 874716"/>
                <a:gd name="connsiteX138" fmla="*/ 2740816 w 6857455"/>
                <a:gd name="connsiteY138" fmla="*/ 499037 h 874716"/>
                <a:gd name="connsiteX139" fmla="*/ 2853596 w 6857455"/>
                <a:gd name="connsiteY139" fmla="*/ 540187 h 874716"/>
                <a:gd name="connsiteX140" fmla="*/ 2966565 w 6857455"/>
                <a:gd name="connsiteY140" fmla="*/ 554286 h 874716"/>
                <a:gd name="connsiteX141" fmla="*/ 3028671 w 6857455"/>
                <a:gd name="connsiteY141" fmla="*/ 554094 h 874716"/>
                <a:gd name="connsiteX142" fmla="*/ 3073059 w 6857455"/>
                <a:gd name="connsiteY142" fmla="*/ 564192 h 874716"/>
                <a:gd name="connsiteX143" fmla="*/ 3182219 w 6857455"/>
                <a:gd name="connsiteY143" fmla="*/ 594862 h 874716"/>
                <a:gd name="connsiteX144" fmla="*/ 3233656 w 6857455"/>
                <a:gd name="connsiteY144" fmla="*/ 599625 h 874716"/>
                <a:gd name="connsiteX145" fmla="*/ 3288332 w 6857455"/>
                <a:gd name="connsiteY145" fmla="*/ 609914 h 874716"/>
                <a:gd name="connsiteX146" fmla="*/ 3423591 w 6857455"/>
                <a:gd name="connsiteY146" fmla="*/ 656015 h 874716"/>
                <a:gd name="connsiteX147" fmla="*/ 3534084 w 6857455"/>
                <a:gd name="connsiteY147" fmla="*/ 653349 h 874716"/>
                <a:gd name="connsiteX148" fmla="*/ 3604571 w 6857455"/>
                <a:gd name="connsiteY148" fmla="*/ 653918 h 874716"/>
                <a:gd name="connsiteX149" fmla="*/ 3688586 w 6857455"/>
                <a:gd name="connsiteY149" fmla="*/ 669160 h 874716"/>
                <a:gd name="connsiteX150" fmla="*/ 3757358 w 6857455"/>
                <a:gd name="connsiteY150" fmla="*/ 691450 h 874716"/>
                <a:gd name="connsiteX151" fmla="*/ 3852421 w 6857455"/>
                <a:gd name="connsiteY151" fmla="*/ 709167 h 874716"/>
                <a:gd name="connsiteX152" fmla="*/ 3947104 w 6857455"/>
                <a:gd name="connsiteY152" fmla="*/ 743267 h 874716"/>
                <a:gd name="connsiteX153" fmla="*/ 4013208 w 6857455"/>
                <a:gd name="connsiteY153" fmla="*/ 769367 h 874716"/>
                <a:gd name="connsiteX154" fmla="*/ 4105222 w 6857455"/>
                <a:gd name="connsiteY154" fmla="*/ 792418 h 874716"/>
                <a:gd name="connsiteX155" fmla="*/ 4246006 w 6857455"/>
                <a:gd name="connsiteY155" fmla="*/ 808610 h 874716"/>
                <a:gd name="connsiteX156" fmla="*/ 4310779 w 6857455"/>
                <a:gd name="connsiteY156" fmla="*/ 810326 h 874716"/>
                <a:gd name="connsiteX157" fmla="*/ 4413272 w 6857455"/>
                <a:gd name="connsiteY157" fmla="*/ 848235 h 874716"/>
                <a:gd name="connsiteX158" fmla="*/ 4457087 w 6857455"/>
                <a:gd name="connsiteY158" fmla="*/ 866524 h 874716"/>
                <a:gd name="connsiteX159" fmla="*/ 4496523 w 6857455"/>
                <a:gd name="connsiteY159" fmla="*/ 851284 h 874716"/>
                <a:gd name="connsiteX160" fmla="*/ 4522050 w 6857455"/>
                <a:gd name="connsiteY160" fmla="*/ 833757 h 874716"/>
                <a:gd name="connsiteX161" fmla="*/ 4602824 w 6857455"/>
                <a:gd name="connsiteY161" fmla="*/ 848618 h 874716"/>
                <a:gd name="connsiteX162" fmla="*/ 4688553 w 6857455"/>
                <a:gd name="connsiteY162" fmla="*/ 864238 h 874716"/>
                <a:gd name="connsiteX163" fmla="*/ 4749895 w 6857455"/>
                <a:gd name="connsiteY163" fmla="*/ 874716 h 874716"/>
                <a:gd name="connsiteX164" fmla="*/ 4826480 w 6857455"/>
                <a:gd name="connsiteY164" fmla="*/ 866334 h 874716"/>
                <a:gd name="connsiteX165" fmla="*/ 4886870 w 6857455"/>
                <a:gd name="connsiteY165" fmla="*/ 862906 h 874716"/>
                <a:gd name="connsiteX166" fmla="*/ 4935639 w 6857455"/>
                <a:gd name="connsiteY166" fmla="*/ 853190 h 874716"/>
                <a:gd name="connsiteX167" fmla="*/ 4952784 w 6857455"/>
                <a:gd name="connsiteY167" fmla="*/ 847473 h 874716"/>
                <a:gd name="connsiteX168" fmla="*/ 5088617 w 6857455"/>
                <a:gd name="connsiteY168" fmla="*/ 802896 h 874716"/>
                <a:gd name="connsiteX169" fmla="*/ 5233781 w 6857455"/>
                <a:gd name="connsiteY169" fmla="*/ 767271 h 874716"/>
                <a:gd name="connsiteX170" fmla="*/ 5327893 w 6857455"/>
                <a:gd name="connsiteY170" fmla="*/ 789752 h 874716"/>
                <a:gd name="connsiteX171" fmla="*/ 5362946 w 6857455"/>
                <a:gd name="connsiteY171" fmla="*/ 789370 h 874716"/>
                <a:gd name="connsiteX172" fmla="*/ 5524115 w 6857455"/>
                <a:gd name="connsiteY172" fmla="*/ 794514 h 874716"/>
                <a:gd name="connsiteX173" fmla="*/ 5552500 w 6857455"/>
                <a:gd name="connsiteY173" fmla="*/ 800038 h 874716"/>
                <a:gd name="connsiteX174" fmla="*/ 5705857 w 6857455"/>
                <a:gd name="connsiteY174" fmla="*/ 777367 h 874716"/>
                <a:gd name="connsiteX175" fmla="*/ 5761485 w 6857455"/>
                <a:gd name="connsiteY175" fmla="*/ 773557 h 874716"/>
                <a:gd name="connsiteX176" fmla="*/ 5812731 w 6857455"/>
                <a:gd name="connsiteY176" fmla="*/ 767271 h 874716"/>
                <a:gd name="connsiteX177" fmla="*/ 5884361 w 6857455"/>
                <a:gd name="connsiteY177" fmla="*/ 765747 h 874716"/>
                <a:gd name="connsiteX178" fmla="*/ 5958660 w 6857455"/>
                <a:gd name="connsiteY178" fmla="*/ 768605 h 874716"/>
                <a:gd name="connsiteX179" fmla="*/ 6041528 w 6857455"/>
                <a:gd name="connsiteY179" fmla="*/ 768033 h 874716"/>
                <a:gd name="connsiteX180" fmla="*/ 6074297 w 6857455"/>
                <a:gd name="connsiteY180" fmla="*/ 763081 h 874716"/>
                <a:gd name="connsiteX181" fmla="*/ 6162880 w 6857455"/>
                <a:gd name="connsiteY181" fmla="*/ 766509 h 874716"/>
                <a:gd name="connsiteX182" fmla="*/ 6209364 w 6857455"/>
                <a:gd name="connsiteY182" fmla="*/ 760795 h 874716"/>
                <a:gd name="connsiteX183" fmla="*/ 6285948 w 6857455"/>
                <a:gd name="connsiteY183" fmla="*/ 759651 h 874716"/>
                <a:gd name="connsiteX184" fmla="*/ 6310905 w 6857455"/>
                <a:gd name="connsiteY184" fmla="*/ 758316 h 874716"/>
                <a:gd name="connsiteX185" fmla="*/ 6333194 w 6857455"/>
                <a:gd name="connsiteY185" fmla="*/ 757554 h 874716"/>
                <a:gd name="connsiteX186" fmla="*/ 6409586 w 6857455"/>
                <a:gd name="connsiteY186" fmla="*/ 773177 h 874716"/>
                <a:gd name="connsiteX187" fmla="*/ 6477407 w 6857455"/>
                <a:gd name="connsiteY187" fmla="*/ 774129 h 874716"/>
                <a:gd name="connsiteX188" fmla="*/ 6596283 w 6857455"/>
                <a:gd name="connsiteY188" fmla="*/ 786703 h 874716"/>
                <a:gd name="connsiteX189" fmla="*/ 6622573 w 6857455"/>
                <a:gd name="connsiteY189" fmla="*/ 782321 h 874716"/>
                <a:gd name="connsiteX190" fmla="*/ 6704872 w 6857455"/>
                <a:gd name="connsiteY190" fmla="*/ 780607 h 874716"/>
                <a:gd name="connsiteX191" fmla="*/ 6751738 w 6857455"/>
                <a:gd name="connsiteY191" fmla="*/ 779273 h 874716"/>
                <a:gd name="connsiteX192" fmla="*/ 6809650 w 6857455"/>
                <a:gd name="connsiteY192" fmla="*/ 788417 h 874716"/>
                <a:gd name="connsiteX193" fmla="*/ 6832976 w 6857455"/>
                <a:gd name="connsiteY193" fmla="*/ 800428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6857455" h="874716">
                  <a:moveTo>
                    <a:pt x="6857455" y="804643"/>
                  </a:moveTo>
                  <a:lnTo>
                    <a:pt x="6857455" y="562246"/>
                  </a:lnTo>
                  <a:lnTo>
                    <a:pt x="6829178" y="551284"/>
                  </a:lnTo>
                  <a:cubicBezTo>
                    <a:pt x="6805745" y="539044"/>
                    <a:pt x="6784885" y="521708"/>
                    <a:pt x="6766024" y="500372"/>
                  </a:cubicBezTo>
                  <a:cubicBezTo>
                    <a:pt x="6755166" y="488179"/>
                    <a:pt x="6746784" y="486845"/>
                    <a:pt x="6734971" y="500944"/>
                  </a:cubicBezTo>
                  <a:cubicBezTo>
                    <a:pt x="6721257" y="517326"/>
                    <a:pt x="6701634" y="510850"/>
                    <a:pt x="6683915" y="507040"/>
                  </a:cubicBezTo>
                  <a:cubicBezTo>
                    <a:pt x="6665629" y="503230"/>
                    <a:pt x="6647148" y="499228"/>
                    <a:pt x="6628860" y="495418"/>
                  </a:cubicBezTo>
                  <a:cubicBezTo>
                    <a:pt x="6615335" y="492752"/>
                    <a:pt x="6601999" y="490466"/>
                    <a:pt x="6588662" y="487227"/>
                  </a:cubicBezTo>
                  <a:cubicBezTo>
                    <a:pt x="6547133" y="477129"/>
                    <a:pt x="6509794" y="480177"/>
                    <a:pt x="6476074" y="511230"/>
                  </a:cubicBezTo>
                  <a:cubicBezTo>
                    <a:pt x="6450356" y="535043"/>
                    <a:pt x="6417399" y="542093"/>
                    <a:pt x="6382345" y="534853"/>
                  </a:cubicBezTo>
                  <a:cubicBezTo>
                    <a:pt x="6377963" y="533901"/>
                    <a:pt x="6372439" y="530091"/>
                    <a:pt x="6369391" y="531615"/>
                  </a:cubicBezTo>
                  <a:cubicBezTo>
                    <a:pt x="6323479" y="553904"/>
                    <a:pt x="6287092" y="514658"/>
                    <a:pt x="6244799" y="512182"/>
                  </a:cubicBezTo>
                  <a:cubicBezTo>
                    <a:pt x="6226130" y="511040"/>
                    <a:pt x="6207079" y="496942"/>
                    <a:pt x="6190315" y="485703"/>
                  </a:cubicBezTo>
                  <a:cubicBezTo>
                    <a:pt x="6167262" y="470271"/>
                    <a:pt x="6146687" y="455412"/>
                    <a:pt x="6115446" y="462270"/>
                  </a:cubicBezTo>
                  <a:cubicBezTo>
                    <a:pt x="6084203" y="469319"/>
                    <a:pt x="6055627" y="456364"/>
                    <a:pt x="6032194" y="434266"/>
                  </a:cubicBezTo>
                  <a:cubicBezTo>
                    <a:pt x="6014287" y="417501"/>
                    <a:pt x="5994665" y="415977"/>
                    <a:pt x="5971042" y="420738"/>
                  </a:cubicBezTo>
                  <a:cubicBezTo>
                    <a:pt x="5941513" y="426645"/>
                    <a:pt x="5910842" y="427027"/>
                    <a:pt x="5880933" y="430646"/>
                  </a:cubicBezTo>
                  <a:cubicBezTo>
                    <a:pt x="5874454" y="431408"/>
                    <a:pt x="5866265" y="434076"/>
                    <a:pt x="5862452" y="438648"/>
                  </a:cubicBezTo>
                  <a:cubicBezTo>
                    <a:pt x="5815779" y="495418"/>
                    <a:pt x="5750055" y="495990"/>
                    <a:pt x="5685283" y="498658"/>
                  </a:cubicBezTo>
                  <a:cubicBezTo>
                    <a:pt x="5646039" y="500372"/>
                    <a:pt x="5606604" y="500372"/>
                    <a:pt x="5567169" y="499420"/>
                  </a:cubicBezTo>
                  <a:cubicBezTo>
                    <a:pt x="5553832" y="499228"/>
                    <a:pt x="5539736" y="496180"/>
                    <a:pt x="5527923" y="490466"/>
                  </a:cubicBezTo>
                  <a:cubicBezTo>
                    <a:pt x="5503348" y="478463"/>
                    <a:pt x="5480680" y="462843"/>
                    <a:pt x="5456292" y="450650"/>
                  </a:cubicBezTo>
                  <a:cubicBezTo>
                    <a:pt x="5447151" y="445886"/>
                    <a:pt x="5435338" y="445696"/>
                    <a:pt x="5424670" y="444934"/>
                  </a:cubicBezTo>
                  <a:cubicBezTo>
                    <a:pt x="5405809" y="443410"/>
                    <a:pt x="5384854" y="447982"/>
                    <a:pt x="5368662" y="441124"/>
                  </a:cubicBezTo>
                  <a:cubicBezTo>
                    <a:pt x="5326559" y="423407"/>
                    <a:pt x="5287123" y="427407"/>
                    <a:pt x="5247118" y="444934"/>
                  </a:cubicBezTo>
                  <a:cubicBezTo>
                    <a:pt x="5191108" y="469509"/>
                    <a:pt x="5138148" y="467605"/>
                    <a:pt x="5088617" y="428742"/>
                  </a:cubicBezTo>
                  <a:cubicBezTo>
                    <a:pt x="5066328" y="411215"/>
                    <a:pt x="5044609" y="419596"/>
                    <a:pt x="5025750" y="433694"/>
                  </a:cubicBezTo>
                  <a:cubicBezTo>
                    <a:pt x="5004032" y="450078"/>
                    <a:pt x="4982885" y="454268"/>
                    <a:pt x="4957930" y="442268"/>
                  </a:cubicBezTo>
                  <a:cubicBezTo>
                    <a:pt x="4952404" y="439600"/>
                    <a:pt x="4944594" y="440933"/>
                    <a:pt x="4938116" y="441886"/>
                  </a:cubicBezTo>
                  <a:cubicBezTo>
                    <a:pt x="4901158" y="446648"/>
                    <a:pt x="4864009" y="454650"/>
                    <a:pt x="4833910" y="421693"/>
                  </a:cubicBezTo>
                  <a:cubicBezTo>
                    <a:pt x="4828004" y="415214"/>
                    <a:pt x="4818097" y="412549"/>
                    <a:pt x="4810095" y="408167"/>
                  </a:cubicBezTo>
                  <a:cubicBezTo>
                    <a:pt x="4776566" y="390258"/>
                    <a:pt x="4777900" y="391974"/>
                    <a:pt x="4747991" y="413691"/>
                  </a:cubicBezTo>
                  <a:cubicBezTo>
                    <a:pt x="4732369" y="425121"/>
                    <a:pt x="4710842" y="436742"/>
                    <a:pt x="4692745" y="435790"/>
                  </a:cubicBezTo>
                  <a:cubicBezTo>
                    <a:pt x="4583584" y="430075"/>
                    <a:pt x="4479758" y="457508"/>
                    <a:pt x="4375933" y="483417"/>
                  </a:cubicBezTo>
                  <a:cubicBezTo>
                    <a:pt x="4311923" y="499420"/>
                    <a:pt x="4249436" y="500372"/>
                    <a:pt x="4185426" y="484179"/>
                  </a:cubicBezTo>
                  <a:cubicBezTo>
                    <a:pt x="4139133" y="472367"/>
                    <a:pt x="4095315" y="491800"/>
                    <a:pt x="4052072" y="505134"/>
                  </a:cubicBezTo>
                  <a:cubicBezTo>
                    <a:pt x="4043117" y="507799"/>
                    <a:pt x="4034735" y="518278"/>
                    <a:pt x="4029973" y="527233"/>
                  </a:cubicBezTo>
                  <a:cubicBezTo>
                    <a:pt x="4012826" y="558858"/>
                    <a:pt x="3984441" y="563810"/>
                    <a:pt x="3948626" y="550666"/>
                  </a:cubicBezTo>
                  <a:cubicBezTo>
                    <a:pt x="3920241" y="540377"/>
                    <a:pt x="3894332" y="526661"/>
                    <a:pt x="3871280" y="502275"/>
                  </a:cubicBezTo>
                  <a:cubicBezTo>
                    <a:pt x="3844229" y="473701"/>
                    <a:pt x="3816224" y="441124"/>
                    <a:pt x="3774312" y="429122"/>
                  </a:cubicBezTo>
                  <a:cubicBezTo>
                    <a:pt x="3756214" y="423979"/>
                    <a:pt x="3740593" y="423217"/>
                    <a:pt x="3721543" y="428552"/>
                  </a:cubicBezTo>
                  <a:cubicBezTo>
                    <a:pt x="3684583" y="438837"/>
                    <a:pt x="3647436" y="446078"/>
                    <a:pt x="3612763" y="414263"/>
                  </a:cubicBezTo>
                  <a:cubicBezTo>
                    <a:pt x="3593712" y="396736"/>
                    <a:pt x="3567994" y="385496"/>
                    <a:pt x="3537323" y="389878"/>
                  </a:cubicBezTo>
                  <a:cubicBezTo>
                    <a:pt x="3499031" y="395402"/>
                    <a:pt x="3464168" y="381496"/>
                    <a:pt x="3431593" y="360921"/>
                  </a:cubicBezTo>
                  <a:cubicBezTo>
                    <a:pt x="3419971" y="353491"/>
                    <a:pt x="3405682" y="349301"/>
                    <a:pt x="3392158" y="345681"/>
                  </a:cubicBezTo>
                  <a:cubicBezTo>
                    <a:pt x="3360915" y="337298"/>
                    <a:pt x="3329480" y="329868"/>
                    <a:pt x="3297856" y="323010"/>
                  </a:cubicBezTo>
                  <a:cubicBezTo>
                    <a:pt x="3271948" y="317296"/>
                    <a:pt x="3245849" y="313104"/>
                    <a:pt x="3219748" y="308151"/>
                  </a:cubicBezTo>
                  <a:cubicBezTo>
                    <a:pt x="3191173" y="302817"/>
                    <a:pt x="3168502" y="290433"/>
                    <a:pt x="3156692" y="261668"/>
                  </a:cubicBezTo>
                  <a:cubicBezTo>
                    <a:pt x="3152882" y="252524"/>
                    <a:pt x="3143737" y="245283"/>
                    <a:pt x="3136497" y="237663"/>
                  </a:cubicBezTo>
                  <a:cubicBezTo>
                    <a:pt x="3131355" y="232139"/>
                    <a:pt x="3124495" y="227947"/>
                    <a:pt x="3119733" y="222233"/>
                  </a:cubicBezTo>
                  <a:cubicBezTo>
                    <a:pt x="3094776" y="192132"/>
                    <a:pt x="3070201" y="161843"/>
                    <a:pt x="3045436" y="131742"/>
                  </a:cubicBezTo>
                  <a:cubicBezTo>
                    <a:pt x="3042958" y="128884"/>
                    <a:pt x="3040292" y="125455"/>
                    <a:pt x="3037054" y="124121"/>
                  </a:cubicBezTo>
                  <a:cubicBezTo>
                    <a:pt x="3003525" y="110215"/>
                    <a:pt x="2969614" y="97070"/>
                    <a:pt x="2936466" y="82400"/>
                  </a:cubicBezTo>
                  <a:cubicBezTo>
                    <a:pt x="2923702" y="76686"/>
                    <a:pt x="2910558" y="69637"/>
                    <a:pt x="2901031" y="59731"/>
                  </a:cubicBezTo>
                  <a:cubicBezTo>
                    <a:pt x="2879314" y="37250"/>
                    <a:pt x="2859502" y="12866"/>
                    <a:pt x="2828259" y="3149"/>
                  </a:cubicBezTo>
                  <a:cubicBezTo>
                    <a:pt x="2819114" y="293"/>
                    <a:pt x="2808256" y="-1231"/>
                    <a:pt x="2799492" y="1245"/>
                  </a:cubicBezTo>
                  <a:cubicBezTo>
                    <a:pt x="2763867" y="11532"/>
                    <a:pt x="2729005" y="24296"/>
                    <a:pt x="2693570" y="35154"/>
                  </a:cubicBezTo>
                  <a:cubicBezTo>
                    <a:pt x="2671092" y="41823"/>
                    <a:pt x="2650707" y="49825"/>
                    <a:pt x="2639847" y="73448"/>
                  </a:cubicBezTo>
                  <a:cubicBezTo>
                    <a:pt x="2636801" y="80114"/>
                    <a:pt x="2628226" y="87354"/>
                    <a:pt x="2621178" y="88688"/>
                  </a:cubicBezTo>
                  <a:cubicBezTo>
                    <a:pt x="2575839" y="97260"/>
                    <a:pt x="2531069" y="101451"/>
                    <a:pt x="2489348" y="72304"/>
                  </a:cubicBezTo>
                  <a:cubicBezTo>
                    <a:pt x="2480585" y="66017"/>
                    <a:pt x="2464201" y="66017"/>
                    <a:pt x="2452580" y="68683"/>
                  </a:cubicBezTo>
                  <a:cubicBezTo>
                    <a:pt x="2407811" y="78590"/>
                    <a:pt x="2365328" y="82020"/>
                    <a:pt x="2326464" y="50395"/>
                  </a:cubicBezTo>
                  <a:cubicBezTo>
                    <a:pt x="2321892" y="46585"/>
                    <a:pt x="2307224" y="50015"/>
                    <a:pt x="2300365" y="54777"/>
                  </a:cubicBezTo>
                  <a:cubicBezTo>
                    <a:pt x="2234259" y="101261"/>
                    <a:pt x="2198064" y="102405"/>
                    <a:pt x="2130434" y="58397"/>
                  </a:cubicBezTo>
                  <a:cubicBezTo>
                    <a:pt x="2126052" y="55539"/>
                    <a:pt x="2120337" y="52301"/>
                    <a:pt x="2118621" y="47919"/>
                  </a:cubicBezTo>
                  <a:cubicBezTo>
                    <a:pt x="2107001" y="19914"/>
                    <a:pt x="2082236" y="19152"/>
                    <a:pt x="2057659" y="16866"/>
                  </a:cubicBezTo>
                  <a:cubicBezTo>
                    <a:pt x="2030608" y="14390"/>
                    <a:pt x="2003555" y="11152"/>
                    <a:pt x="1976314" y="8865"/>
                  </a:cubicBezTo>
                  <a:cubicBezTo>
                    <a:pt x="1971550" y="8483"/>
                    <a:pt x="1966216" y="10007"/>
                    <a:pt x="1961454" y="11724"/>
                  </a:cubicBezTo>
                  <a:cubicBezTo>
                    <a:pt x="1943165" y="18010"/>
                    <a:pt x="1925449" y="27154"/>
                    <a:pt x="1906588" y="30964"/>
                  </a:cubicBezTo>
                  <a:cubicBezTo>
                    <a:pt x="1865821" y="39156"/>
                    <a:pt x="1826385" y="55539"/>
                    <a:pt x="1783330" y="48871"/>
                  </a:cubicBezTo>
                  <a:cubicBezTo>
                    <a:pt x="1775902" y="47729"/>
                    <a:pt x="1767327" y="53253"/>
                    <a:pt x="1759327" y="55349"/>
                  </a:cubicBezTo>
                  <a:cubicBezTo>
                    <a:pt x="1744849" y="58969"/>
                    <a:pt x="1730750" y="64111"/>
                    <a:pt x="1716082" y="65445"/>
                  </a:cubicBezTo>
                  <a:cubicBezTo>
                    <a:pt x="1677218" y="68875"/>
                    <a:pt x="1637975" y="71924"/>
                    <a:pt x="1598920" y="72114"/>
                  </a:cubicBezTo>
                  <a:cubicBezTo>
                    <a:pt x="1580061" y="72304"/>
                    <a:pt x="1561201" y="65065"/>
                    <a:pt x="1542150" y="62207"/>
                  </a:cubicBezTo>
                  <a:cubicBezTo>
                    <a:pt x="1533578" y="60873"/>
                    <a:pt x="1519669" y="58587"/>
                    <a:pt x="1516813" y="62779"/>
                  </a:cubicBezTo>
                  <a:cubicBezTo>
                    <a:pt x="1494714" y="94592"/>
                    <a:pt x="1463661" y="88496"/>
                    <a:pt x="1432228" y="88116"/>
                  </a:cubicBezTo>
                  <a:cubicBezTo>
                    <a:pt x="1362884" y="87354"/>
                    <a:pt x="1295826" y="60493"/>
                    <a:pt x="1224765" y="71924"/>
                  </a:cubicBezTo>
                  <a:cubicBezTo>
                    <a:pt x="1204191" y="75162"/>
                    <a:pt x="1181330" y="62397"/>
                    <a:pt x="1159231" y="58207"/>
                  </a:cubicBezTo>
                  <a:cubicBezTo>
                    <a:pt x="1147801" y="56111"/>
                    <a:pt x="1135228" y="53633"/>
                    <a:pt x="1124370" y="56301"/>
                  </a:cubicBezTo>
                  <a:cubicBezTo>
                    <a:pt x="1107605" y="60493"/>
                    <a:pt x="1091411" y="68113"/>
                    <a:pt x="1075600" y="75542"/>
                  </a:cubicBezTo>
                  <a:cubicBezTo>
                    <a:pt x="1046261" y="89258"/>
                    <a:pt x="1016162" y="89258"/>
                    <a:pt x="986633" y="79162"/>
                  </a:cubicBezTo>
                  <a:cubicBezTo>
                    <a:pt x="944722" y="64873"/>
                    <a:pt x="903193" y="64873"/>
                    <a:pt x="861089" y="76304"/>
                  </a:cubicBezTo>
                  <a:cubicBezTo>
                    <a:pt x="826990" y="85638"/>
                    <a:pt x="791935" y="92116"/>
                    <a:pt x="759168" y="104689"/>
                  </a:cubicBezTo>
                  <a:cubicBezTo>
                    <a:pt x="744689" y="110215"/>
                    <a:pt x="732497" y="126597"/>
                    <a:pt x="723735" y="140696"/>
                  </a:cubicBezTo>
                  <a:cubicBezTo>
                    <a:pt x="706018" y="169271"/>
                    <a:pt x="674013" y="169081"/>
                    <a:pt x="647532" y="147934"/>
                  </a:cubicBezTo>
                  <a:cubicBezTo>
                    <a:pt x="619717" y="125645"/>
                    <a:pt x="584664" y="112501"/>
                    <a:pt x="552659" y="95926"/>
                  </a:cubicBezTo>
                  <a:cubicBezTo>
                    <a:pt x="549993" y="94592"/>
                    <a:pt x="545039" y="96116"/>
                    <a:pt x="541800" y="97640"/>
                  </a:cubicBezTo>
                  <a:cubicBezTo>
                    <a:pt x="488649" y="122407"/>
                    <a:pt x="433593" y="126979"/>
                    <a:pt x="375107" y="123169"/>
                  </a:cubicBezTo>
                  <a:cubicBezTo>
                    <a:pt x="341960" y="121073"/>
                    <a:pt x="307289" y="137076"/>
                    <a:pt x="273567" y="145458"/>
                  </a:cubicBezTo>
                  <a:cubicBezTo>
                    <a:pt x="269757" y="146410"/>
                    <a:pt x="266519" y="151174"/>
                    <a:pt x="264043" y="154792"/>
                  </a:cubicBezTo>
                  <a:cubicBezTo>
                    <a:pt x="240228" y="190800"/>
                    <a:pt x="208223" y="200706"/>
                    <a:pt x="169360" y="177273"/>
                  </a:cubicBezTo>
                  <a:cubicBezTo>
                    <a:pt x="143643" y="161651"/>
                    <a:pt x="118114" y="158032"/>
                    <a:pt x="89347" y="157460"/>
                  </a:cubicBezTo>
                  <a:cubicBezTo>
                    <a:pt x="71059" y="157078"/>
                    <a:pt x="52962" y="147934"/>
                    <a:pt x="34291" y="145268"/>
                  </a:cubicBezTo>
                  <a:lnTo>
                    <a:pt x="0" y="142056"/>
                  </a:lnTo>
                  <a:lnTo>
                    <a:pt x="0" y="849556"/>
                  </a:lnTo>
                  <a:lnTo>
                    <a:pt x="60652" y="844783"/>
                  </a:lnTo>
                  <a:cubicBezTo>
                    <a:pt x="80251" y="839473"/>
                    <a:pt x="99446" y="832043"/>
                    <a:pt x="119068" y="827281"/>
                  </a:cubicBezTo>
                  <a:cubicBezTo>
                    <a:pt x="137355" y="822899"/>
                    <a:pt x="154501" y="812802"/>
                    <a:pt x="171840" y="804420"/>
                  </a:cubicBezTo>
                  <a:cubicBezTo>
                    <a:pt x="204985" y="788417"/>
                    <a:pt x="240420" y="798514"/>
                    <a:pt x="274329" y="794324"/>
                  </a:cubicBezTo>
                  <a:cubicBezTo>
                    <a:pt x="285188" y="792990"/>
                    <a:pt x="296046" y="791466"/>
                    <a:pt x="306715" y="788798"/>
                  </a:cubicBezTo>
                  <a:cubicBezTo>
                    <a:pt x="335864" y="781749"/>
                    <a:pt x="365583" y="775653"/>
                    <a:pt x="393967" y="765937"/>
                  </a:cubicBezTo>
                  <a:cubicBezTo>
                    <a:pt x="426165" y="755078"/>
                    <a:pt x="457028" y="740600"/>
                    <a:pt x="493793" y="725549"/>
                  </a:cubicBezTo>
                  <a:cubicBezTo>
                    <a:pt x="506557" y="729360"/>
                    <a:pt x="526180" y="739648"/>
                    <a:pt x="546373" y="740600"/>
                  </a:cubicBezTo>
                  <a:cubicBezTo>
                    <a:pt x="611337" y="743838"/>
                    <a:pt x="672107" y="726121"/>
                    <a:pt x="730211" y="698116"/>
                  </a:cubicBezTo>
                  <a:cubicBezTo>
                    <a:pt x="747927" y="689734"/>
                    <a:pt x="766980" y="684210"/>
                    <a:pt x="784889" y="676018"/>
                  </a:cubicBezTo>
                  <a:cubicBezTo>
                    <a:pt x="791173" y="673161"/>
                    <a:pt x="799365" y="667065"/>
                    <a:pt x="800509" y="661349"/>
                  </a:cubicBezTo>
                  <a:cubicBezTo>
                    <a:pt x="807175" y="628201"/>
                    <a:pt x="831942" y="628772"/>
                    <a:pt x="857661" y="626868"/>
                  </a:cubicBezTo>
                  <a:cubicBezTo>
                    <a:pt x="888332" y="624582"/>
                    <a:pt x="918621" y="619248"/>
                    <a:pt x="949102" y="614676"/>
                  </a:cubicBezTo>
                  <a:cubicBezTo>
                    <a:pt x="953104" y="614104"/>
                    <a:pt x="956722" y="610104"/>
                    <a:pt x="960342" y="607435"/>
                  </a:cubicBezTo>
                  <a:cubicBezTo>
                    <a:pt x="965867" y="603435"/>
                    <a:pt x="971011" y="597339"/>
                    <a:pt x="977109" y="595815"/>
                  </a:cubicBezTo>
                  <a:cubicBezTo>
                    <a:pt x="1008350" y="588385"/>
                    <a:pt x="1039783" y="582099"/>
                    <a:pt x="1071218" y="575240"/>
                  </a:cubicBezTo>
                  <a:cubicBezTo>
                    <a:pt x="1078266" y="573716"/>
                    <a:pt x="1085505" y="571812"/>
                    <a:pt x="1091983" y="568764"/>
                  </a:cubicBezTo>
                  <a:cubicBezTo>
                    <a:pt x="1098079" y="565906"/>
                    <a:pt x="1103223" y="560952"/>
                    <a:pt x="1109321" y="557904"/>
                  </a:cubicBezTo>
                  <a:cubicBezTo>
                    <a:pt x="1125892" y="549714"/>
                    <a:pt x="1142851" y="542093"/>
                    <a:pt x="1162279" y="532949"/>
                  </a:cubicBezTo>
                  <a:cubicBezTo>
                    <a:pt x="1173138" y="550094"/>
                    <a:pt x="1187810" y="540377"/>
                    <a:pt x="1206097" y="532187"/>
                  </a:cubicBezTo>
                  <a:cubicBezTo>
                    <a:pt x="1224765" y="523805"/>
                    <a:pt x="1246292" y="521137"/>
                    <a:pt x="1266867" y="518088"/>
                  </a:cubicBezTo>
                  <a:cubicBezTo>
                    <a:pt x="1304588" y="512564"/>
                    <a:pt x="1342499" y="509134"/>
                    <a:pt x="1380219" y="504182"/>
                  </a:cubicBezTo>
                  <a:cubicBezTo>
                    <a:pt x="1388221" y="503038"/>
                    <a:pt x="1397365" y="500944"/>
                    <a:pt x="1403461" y="496180"/>
                  </a:cubicBezTo>
                  <a:cubicBezTo>
                    <a:pt x="1445181" y="464175"/>
                    <a:pt x="1495858" y="455222"/>
                    <a:pt x="1544054" y="458268"/>
                  </a:cubicBezTo>
                  <a:cubicBezTo>
                    <a:pt x="1581965" y="460557"/>
                    <a:pt x="1619114" y="462270"/>
                    <a:pt x="1656644" y="459032"/>
                  </a:cubicBezTo>
                  <a:cubicBezTo>
                    <a:pt x="1659502" y="458841"/>
                    <a:pt x="1663312" y="459223"/>
                    <a:pt x="1665406" y="460747"/>
                  </a:cubicBezTo>
                  <a:cubicBezTo>
                    <a:pt x="1678360" y="470843"/>
                    <a:pt x="1691887" y="471605"/>
                    <a:pt x="1708461" y="473318"/>
                  </a:cubicBezTo>
                  <a:cubicBezTo>
                    <a:pt x="1731894" y="475797"/>
                    <a:pt x="1753421" y="474081"/>
                    <a:pt x="1775140" y="469891"/>
                  </a:cubicBezTo>
                  <a:cubicBezTo>
                    <a:pt x="1790952" y="466843"/>
                    <a:pt x="1806953" y="460557"/>
                    <a:pt x="1821051" y="452554"/>
                  </a:cubicBezTo>
                  <a:cubicBezTo>
                    <a:pt x="1840672" y="441314"/>
                    <a:pt x="1859535" y="436934"/>
                    <a:pt x="1878203" y="451792"/>
                  </a:cubicBezTo>
                  <a:cubicBezTo>
                    <a:pt x="1898396" y="467605"/>
                    <a:pt x="1921257" y="462081"/>
                    <a:pt x="1943547" y="462651"/>
                  </a:cubicBezTo>
                  <a:cubicBezTo>
                    <a:pt x="1953262" y="462843"/>
                    <a:pt x="1963550" y="462461"/>
                    <a:pt x="1972884" y="464937"/>
                  </a:cubicBezTo>
                  <a:cubicBezTo>
                    <a:pt x="1999935" y="471987"/>
                    <a:pt x="2026036" y="482655"/>
                    <a:pt x="2053469" y="487417"/>
                  </a:cubicBezTo>
                  <a:cubicBezTo>
                    <a:pt x="2068710" y="490084"/>
                    <a:pt x="2085664" y="485321"/>
                    <a:pt x="2101477" y="481893"/>
                  </a:cubicBezTo>
                  <a:cubicBezTo>
                    <a:pt x="2117479" y="478273"/>
                    <a:pt x="2133290" y="472749"/>
                    <a:pt x="2148722" y="467033"/>
                  </a:cubicBezTo>
                  <a:cubicBezTo>
                    <a:pt x="2159199" y="463223"/>
                    <a:pt x="2170629" y="459603"/>
                    <a:pt x="2179011" y="452744"/>
                  </a:cubicBezTo>
                  <a:cubicBezTo>
                    <a:pt x="2198064" y="437124"/>
                    <a:pt x="2217685" y="434455"/>
                    <a:pt x="2240165" y="442648"/>
                  </a:cubicBezTo>
                  <a:cubicBezTo>
                    <a:pt x="2243593" y="443982"/>
                    <a:pt x="2247594" y="443982"/>
                    <a:pt x="2251404" y="444172"/>
                  </a:cubicBezTo>
                  <a:cubicBezTo>
                    <a:pt x="2312370" y="448172"/>
                    <a:pt x="2373330" y="450650"/>
                    <a:pt x="2433912" y="456746"/>
                  </a:cubicBezTo>
                  <a:cubicBezTo>
                    <a:pt x="2458485" y="459223"/>
                    <a:pt x="2482107" y="470081"/>
                    <a:pt x="2506302" y="476939"/>
                  </a:cubicBezTo>
                  <a:cubicBezTo>
                    <a:pt x="2511256" y="478273"/>
                    <a:pt x="2516783" y="480369"/>
                    <a:pt x="2521735" y="479415"/>
                  </a:cubicBezTo>
                  <a:cubicBezTo>
                    <a:pt x="2575647" y="469891"/>
                    <a:pt x="2626132" y="483797"/>
                    <a:pt x="2675854" y="502086"/>
                  </a:cubicBezTo>
                  <a:cubicBezTo>
                    <a:pt x="2680996" y="503992"/>
                    <a:pt x="2687282" y="503419"/>
                    <a:pt x="2692998" y="503038"/>
                  </a:cubicBezTo>
                  <a:cubicBezTo>
                    <a:pt x="2709003" y="501706"/>
                    <a:pt x="2726337" y="495038"/>
                    <a:pt x="2740816" y="499037"/>
                  </a:cubicBezTo>
                  <a:cubicBezTo>
                    <a:pt x="2779297" y="510088"/>
                    <a:pt x="2817398" y="523423"/>
                    <a:pt x="2853596" y="540187"/>
                  </a:cubicBezTo>
                  <a:cubicBezTo>
                    <a:pt x="2890365" y="557142"/>
                    <a:pt x="2924464" y="571430"/>
                    <a:pt x="2966565" y="554286"/>
                  </a:cubicBezTo>
                  <a:cubicBezTo>
                    <a:pt x="2984472" y="547045"/>
                    <a:pt x="3008095" y="552190"/>
                    <a:pt x="3028671" y="554094"/>
                  </a:cubicBezTo>
                  <a:cubicBezTo>
                    <a:pt x="3043720" y="555618"/>
                    <a:pt x="3058198" y="564192"/>
                    <a:pt x="3073059" y="564192"/>
                  </a:cubicBezTo>
                  <a:cubicBezTo>
                    <a:pt x="3112686" y="564192"/>
                    <a:pt x="3147927" y="574288"/>
                    <a:pt x="3182219" y="594862"/>
                  </a:cubicBezTo>
                  <a:cubicBezTo>
                    <a:pt x="3195557" y="602863"/>
                    <a:pt x="3216322" y="597529"/>
                    <a:pt x="3233656" y="599625"/>
                  </a:cubicBezTo>
                  <a:cubicBezTo>
                    <a:pt x="3251947" y="602101"/>
                    <a:pt x="3270804" y="604387"/>
                    <a:pt x="3288332" y="609914"/>
                  </a:cubicBezTo>
                  <a:cubicBezTo>
                    <a:pt x="3333672" y="624392"/>
                    <a:pt x="3378441" y="640774"/>
                    <a:pt x="3423591" y="656015"/>
                  </a:cubicBezTo>
                  <a:cubicBezTo>
                    <a:pt x="3460738" y="668590"/>
                    <a:pt x="3497317" y="658683"/>
                    <a:pt x="3534084" y="653349"/>
                  </a:cubicBezTo>
                  <a:cubicBezTo>
                    <a:pt x="3557137" y="649919"/>
                    <a:pt x="3578662" y="641727"/>
                    <a:pt x="3604571" y="653918"/>
                  </a:cubicBezTo>
                  <a:cubicBezTo>
                    <a:pt x="3629338" y="665541"/>
                    <a:pt x="3660771" y="662873"/>
                    <a:pt x="3688586" y="669160"/>
                  </a:cubicBezTo>
                  <a:cubicBezTo>
                    <a:pt x="3712020" y="674494"/>
                    <a:pt x="3734687" y="683068"/>
                    <a:pt x="3757358" y="691450"/>
                  </a:cubicBezTo>
                  <a:cubicBezTo>
                    <a:pt x="3788221" y="702881"/>
                    <a:pt x="3818700" y="714881"/>
                    <a:pt x="3852421" y="709167"/>
                  </a:cubicBezTo>
                  <a:cubicBezTo>
                    <a:pt x="3890714" y="702689"/>
                    <a:pt x="3917001" y="727073"/>
                    <a:pt x="3947104" y="743267"/>
                  </a:cubicBezTo>
                  <a:cubicBezTo>
                    <a:pt x="3967869" y="754316"/>
                    <a:pt x="3990538" y="762509"/>
                    <a:pt x="4013208" y="769367"/>
                  </a:cubicBezTo>
                  <a:cubicBezTo>
                    <a:pt x="4043497" y="778321"/>
                    <a:pt x="4074740" y="783655"/>
                    <a:pt x="4105222" y="792418"/>
                  </a:cubicBezTo>
                  <a:cubicBezTo>
                    <a:pt x="4151325" y="805561"/>
                    <a:pt x="4198001" y="815850"/>
                    <a:pt x="4246006" y="808610"/>
                  </a:cubicBezTo>
                  <a:cubicBezTo>
                    <a:pt x="4268105" y="805372"/>
                    <a:pt x="4288682" y="805561"/>
                    <a:pt x="4310779" y="810326"/>
                  </a:cubicBezTo>
                  <a:cubicBezTo>
                    <a:pt x="4346974" y="818136"/>
                    <a:pt x="4384123" y="819089"/>
                    <a:pt x="4413272" y="848235"/>
                  </a:cubicBezTo>
                  <a:cubicBezTo>
                    <a:pt x="4423558" y="858524"/>
                    <a:pt x="4442037" y="861190"/>
                    <a:pt x="4457087" y="866524"/>
                  </a:cubicBezTo>
                  <a:cubicBezTo>
                    <a:pt x="4474424" y="872812"/>
                    <a:pt x="4487186" y="869572"/>
                    <a:pt x="4496523" y="851284"/>
                  </a:cubicBezTo>
                  <a:cubicBezTo>
                    <a:pt x="4500713" y="843093"/>
                    <a:pt x="4512715" y="835091"/>
                    <a:pt x="4522050" y="833757"/>
                  </a:cubicBezTo>
                  <a:cubicBezTo>
                    <a:pt x="4550055" y="829757"/>
                    <a:pt x="4575773" y="835663"/>
                    <a:pt x="4602824" y="848618"/>
                  </a:cubicBezTo>
                  <a:cubicBezTo>
                    <a:pt x="4628161" y="860810"/>
                    <a:pt x="4659786" y="859476"/>
                    <a:pt x="4688553" y="864238"/>
                  </a:cubicBezTo>
                  <a:cubicBezTo>
                    <a:pt x="4708936" y="867668"/>
                    <a:pt x="4729321" y="874716"/>
                    <a:pt x="4749895" y="874716"/>
                  </a:cubicBezTo>
                  <a:cubicBezTo>
                    <a:pt x="4775424" y="874716"/>
                    <a:pt x="4800761" y="868620"/>
                    <a:pt x="4826480" y="866334"/>
                  </a:cubicBezTo>
                  <a:cubicBezTo>
                    <a:pt x="4846482" y="864430"/>
                    <a:pt x="4866867" y="865192"/>
                    <a:pt x="4886870" y="862906"/>
                  </a:cubicBezTo>
                  <a:cubicBezTo>
                    <a:pt x="4903254" y="861190"/>
                    <a:pt x="4919447" y="856810"/>
                    <a:pt x="4935639" y="853190"/>
                  </a:cubicBezTo>
                  <a:cubicBezTo>
                    <a:pt x="4941546" y="851856"/>
                    <a:pt x="4947452" y="846711"/>
                    <a:pt x="4952784" y="847473"/>
                  </a:cubicBezTo>
                  <a:cubicBezTo>
                    <a:pt x="5005745" y="855666"/>
                    <a:pt x="5043847" y="819089"/>
                    <a:pt x="5088617" y="802896"/>
                  </a:cubicBezTo>
                  <a:cubicBezTo>
                    <a:pt x="5135672" y="785749"/>
                    <a:pt x="5181204" y="759461"/>
                    <a:pt x="5233781" y="767271"/>
                  </a:cubicBezTo>
                  <a:cubicBezTo>
                    <a:pt x="5265596" y="772033"/>
                    <a:pt x="5296267" y="783083"/>
                    <a:pt x="5327893" y="789752"/>
                  </a:cubicBezTo>
                  <a:cubicBezTo>
                    <a:pt x="5339132" y="792038"/>
                    <a:pt x="5351705" y="791656"/>
                    <a:pt x="5362946" y="789370"/>
                  </a:cubicBezTo>
                  <a:cubicBezTo>
                    <a:pt x="5417240" y="778891"/>
                    <a:pt x="5470771" y="777367"/>
                    <a:pt x="5524115" y="794514"/>
                  </a:cubicBezTo>
                  <a:cubicBezTo>
                    <a:pt x="5533257" y="797372"/>
                    <a:pt x="5542974" y="800038"/>
                    <a:pt x="5552500" y="800038"/>
                  </a:cubicBezTo>
                  <a:cubicBezTo>
                    <a:pt x="5604697" y="800038"/>
                    <a:pt x="5655944" y="796038"/>
                    <a:pt x="5705857" y="777367"/>
                  </a:cubicBezTo>
                  <a:cubicBezTo>
                    <a:pt x="5722622" y="771080"/>
                    <a:pt x="5743006" y="775081"/>
                    <a:pt x="5761485" y="773557"/>
                  </a:cubicBezTo>
                  <a:cubicBezTo>
                    <a:pt x="5778629" y="772224"/>
                    <a:pt x="5796156" y="771653"/>
                    <a:pt x="5812731" y="767271"/>
                  </a:cubicBezTo>
                  <a:cubicBezTo>
                    <a:pt x="5836925" y="760795"/>
                    <a:pt x="5859404" y="760033"/>
                    <a:pt x="5884361" y="765747"/>
                  </a:cubicBezTo>
                  <a:cubicBezTo>
                    <a:pt x="5908174" y="771080"/>
                    <a:pt x="5933892" y="768415"/>
                    <a:pt x="5958660" y="768605"/>
                  </a:cubicBezTo>
                  <a:cubicBezTo>
                    <a:pt x="5986282" y="768795"/>
                    <a:pt x="6013906" y="768984"/>
                    <a:pt x="6041528" y="768033"/>
                  </a:cubicBezTo>
                  <a:cubicBezTo>
                    <a:pt x="6052579" y="767653"/>
                    <a:pt x="6065151" y="760033"/>
                    <a:pt x="6074297" y="763081"/>
                  </a:cubicBezTo>
                  <a:cubicBezTo>
                    <a:pt x="6103824" y="773366"/>
                    <a:pt x="6133353" y="760985"/>
                    <a:pt x="6162880" y="766509"/>
                  </a:cubicBezTo>
                  <a:cubicBezTo>
                    <a:pt x="6177360" y="769367"/>
                    <a:pt x="6193743" y="761557"/>
                    <a:pt x="6209364" y="760795"/>
                  </a:cubicBezTo>
                  <a:cubicBezTo>
                    <a:pt x="6234892" y="759461"/>
                    <a:pt x="6260419" y="760033"/>
                    <a:pt x="6285948" y="759651"/>
                  </a:cubicBezTo>
                  <a:cubicBezTo>
                    <a:pt x="6294330" y="759461"/>
                    <a:pt x="6302523" y="758699"/>
                    <a:pt x="6310905" y="758316"/>
                  </a:cubicBezTo>
                  <a:cubicBezTo>
                    <a:pt x="6318335" y="757936"/>
                    <a:pt x="6326145" y="756222"/>
                    <a:pt x="6333194" y="757554"/>
                  </a:cubicBezTo>
                  <a:cubicBezTo>
                    <a:pt x="6358723" y="762318"/>
                    <a:pt x="6383869" y="770129"/>
                    <a:pt x="6409586" y="773177"/>
                  </a:cubicBezTo>
                  <a:cubicBezTo>
                    <a:pt x="6431875" y="775843"/>
                    <a:pt x="6454928" y="772224"/>
                    <a:pt x="6477407" y="774129"/>
                  </a:cubicBezTo>
                  <a:cubicBezTo>
                    <a:pt x="6517032" y="777367"/>
                    <a:pt x="6556657" y="783083"/>
                    <a:pt x="6596283" y="786703"/>
                  </a:cubicBezTo>
                  <a:cubicBezTo>
                    <a:pt x="6604857" y="787465"/>
                    <a:pt x="6613809" y="782701"/>
                    <a:pt x="6622573" y="782321"/>
                  </a:cubicBezTo>
                  <a:cubicBezTo>
                    <a:pt x="6650006" y="781369"/>
                    <a:pt x="6677439" y="781177"/>
                    <a:pt x="6704872" y="780607"/>
                  </a:cubicBezTo>
                  <a:cubicBezTo>
                    <a:pt x="6720493" y="780415"/>
                    <a:pt x="6736305" y="780987"/>
                    <a:pt x="6751738" y="779273"/>
                  </a:cubicBezTo>
                  <a:cubicBezTo>
                    <a:pt x="6772120" y="776987"/>
                    <a:pt x="6790599" y="773557"/>
                    <a:pt x="6809650" y="788417"/>
                  </a:cubicBezTo>
                  <a:cubicBezTo>
                    <a:pt x="6816984" y="794180"/>
                    <a:pt x="6824819" y="797942"/>
                    <a:pt x="6832976" y="800428"/>
                  </a:cubicBezTo>
                  <a:close/>
                </a:path>
              </a:pathLst>
            </a:custGeom>
            <a:solidFill>
              <a:srgbClr val="FFFFFF"/>
            </a:solidFill>
            <a:ln>
              <a:noFill/>
            </a:ln>
            <a:effectLst>
              <a:outerShdw blurRad="381000" dist="152400" dir="108000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6" name="Freeform: Shape 55">
              <a:extLst>
                <a:ext uri="{FF2B5EF4-FFF2-40B4-BE49-F238E27FC236}">
                  <a16:creationId xmlns:a16="http://schemas.microsoft.com/office/drawing/2014/main" id="{44E103E5-C039-4EA4-843B-AD566B5C96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H="1">
              <a:off x="2640988" y="2991914"/>
              <a:ext cx="6857455" cy="874716"/>
            </a:xfrm>
            <a:custGeom>
              <a:avLst/>
              <a:gdLst>
                <a:gd name="connsiteX0" fmla="*/ 6857455 w 6857455"/>
                <a:gd name="connsiteY0" fmla="*/ 804643 h 874716"/>
                <a:gd name="connsiteX1" fmla="*/ 6857455 w 6857455"/>
                <a:gd name="connsiteY1" fmla="*/ 562246 h 874716"/>
                <a:gd name="connsiteX2" fmla="*/ 6829178 w 6857455"/>
                <a:gd name="connsiteY2" fmla="*/ 551284 h 874716"/>
                <a:gd name="connsiteX3" fmla="*/ 6766024 w 6857455"/>
                <a:gd name="connsiteY3" fmla="*/ 500372 h 874716"/>
                <a:gd name="connsiteX4" fmla="*/ 6734971 w 6857455"/>
                <a:gd name="connsiteY4" fmla="*/ 500944 h 874716"/>
                <a:gd name="connsiteX5" fmla="*/ 6683915 w 6857455"/>
                <a:gd name="connsiteY5" fmla="*/ 507040 h 874716"/>
                <a:gd name="connsiteX6" fmla="*/ 6628860 w 6857455"/>
                <a:gd name="connsiteY6" fmla="*/ 495418 h 874716"/>
                <a:gd name="connsiteX7" fmla="*/ 6588662 w 6857455"/>
                <a:gd name="connsiteY7" fmla="*/ 487227 h 874716"/>
                <a:gd name="connsiteX8" fmla="*/ 6476074 w 6857455"/>
                <a:gd name="connsiteY8" fmla="*/ 511230 h 874716"/>
                <a:gd name="connsiteX9" fmla="*/ 6382345 w 6857455"/>
                <a:gd name="connsiteY9" fmla="*/ 534853 h 874716"/>
                <a:gd name="connsiteX10" fmla="*/ 6369391 w 6857455"/>
                <a:gd name="connsiteY10" fmla="*/ 531615 h 874716"/>
                <a:gd name="connsiteX11" fmla="*/ 6244799 w 6857455"/>
                <a:gd name="connsiteY11" fmla="*/ 512182 h 874716"/>
                <a:gd name="connsiteX12" fmla="*/ 6190315 w 6857455"/>
                <a:gd name="connsiteY12" fmla="*/ 485703 h 874716"/>
                <a:gd name="connsiteX13" fmla="*/ 6115446 w 6857455"/>
                <a:gd name="connsiteY13" fmla="*/ 462270 h 874716"/>
                <a:gd name="connsiteX14" fmla="*/ 6032194 w 6857455"/>
                <a:gd name="connsiteY14" fmla="*/ 434266 h 874716"/>
                <a:gd name="connsiteX15" fmla="*/ 5971042 w 6857455"/>
                <a:gd name="connsiteY15" fmla="*/ 420738 h 874716"/>
                <a:gd name="connsiteX16" fmla="*/ 5880933 w 6857455"/>
                <a:gd name="connsiteY16" fmla="*/ 430646 h 874716"/>
                <a:gd name="connsiteX17" fmla="*/ 5862452 w 6857455"/>
                <a:gd name="connsiteY17" fmla="*/ 438648 h 874716"/>
                <a:gd name="connsiteX18" fmla="*/ 5685283 w 6857455"/>
                <a:gd name="connsiteY18" fmla="*/ 498658 h 874716"/>
                <a:gd name="connsiteX19" fmla="*/ 5567169 w 6857455"/>
                <a:gd name="connsiteY19" fmla="*/ 499420 h 874716"/>
                <a:gd name="connsiteX20" fmla="*/ 5527923 w 6857455"/>
                <a:gd name="connsiteY20" fmla="*/ 490466 h 874716"/>
                <a:gd name="connsiteX21" fmla="*/ 5456292 w 6857455"/>
                <a:gd name="connsiteY21" fmla="*/ 450650 h 874716"/>
                <a:gd name="connsiteX22" fmla="*/ 5424670 w 6857455"/>
                <a:gd name="connsiteY22" fmla="*/ 444934 h 874716"/>
                <a:gd name="connsiteX23" fmla="*/ 5368662 w 6857455"/>
                <a:gd name="connsiteY23" fmla="*/ 441124 h 874716"/>
                <a:gd name="connsiteX24" fmla="*/ 5247118 w 6857455"/>
                <a:gd name="connsiteY24" fmla="*/ 444934 h 874716"/>
                <a:gd name="connsiteX25" fmla="*/ 5088617 w 6857455"/>
                <a:gd name="connsiteY25" fmla="*/ 428742 h 874716"/>
                <a:gd name="connsiteX26" fmla="*/ 5025750 w 6857455"/>
                <a:gd name="connsiteY26" fmla="*/ 433694 h 874716"/>
                <a:gd name="connsiteX27" fmla="*/ 4957930 w 6857455"/>
                <a:gd name="connsiteY27" fmla="*/ 442268 h 874716"/>
                <a:gd name="connsiteX28" fmla="*/ 4938116 w 6857455"/>
                <a:gd name="connsiteY28" fmla="*/ 441886 h 874716"/>
                <a:gd name="connsiteX29" fmla="*/ 4833910 w 6857455"/>
                <a:gd name="connsiteY29" fmla="*/ 421693 h 874716"/>
                <a:gd name="connsiteX30" fmla="*/ 4810095 w 6857455"/>
                <a:gd name="connsiteY30" fmla="*/ 408167 h 874716"/>
                <a:gd name="connsiteX31" fmla="*/ 4747991 w 6857455"/>
                <a:gd name="connsiteY31" fmla="*/ 413691 h 874716"/>
                <a:gd name="connsiteX32" fmla="*/ 4692745 w 6857455"/>
                <a:gd name="connsiteY32" fmla="*/ 435790 h 874716"/>
                <a:gd name="connsiteX33" fmla="*/ 4375933 w 6857455"/>
                <a:gd name="connsiteY33" fmla="*/ 483417 h 874716"/>
                <a:gd name="connsiteX34" fmla="*/ 4185426 w 6857455"/>
                <a:gd name="connsiteY34" fmla="*/ 484179 h 874716"/>
                <a:gd name="connsiteX35" fmla="*/ 4052072 w 6857455"/>
                <a:gd name="connsiteY35" fmla="*/ 505134 h 874716"/>
                <a:gd name="connsiteX36" fmla="*/ 4029973 w 6857455"/>
                <a:gd name="connsiteY36" fmla="*/ 527233 h 874716"/>
                <a:gd name="connsiteX37" fmla="*/ 3948626 w 6857455"/>
                <a:gd name="connsiteY37" fmla="*/ 550666 h 874716"/>
                <a:gd name="connsiteX38" fmla="*/ 3871280 w 6857455"/>
                <a:gd name="connsiteY38" fmla="*/ 502275 h 874716"/>
                <a:gd name="connsiteX39" fmla="*/ 3774312 w 6857455"/>
                <a:gd name="connsiteY39" fmla="*/ 429122 h 874716"/>
                <a:gd name="connsiteX40" fmla="*/ 3721543 w 6857455"/>
                <a:gd name="connsiteY40" fmla="*/ 428552 h 874716"/>
                <a:gd name="connsiteX41" fmla="*/ 3612763 w 6857455"/>
                <a:gd name="connsiteY41" fmla="*/ 414263 h 874716"/>
                <a:gd name="connsiteX42" fmla="*/ 3537323 w 6857455"/>
                <a:gd name="connsiteY42" fmla="*/ 389878 h 874716"/>
                <a:gd name="connsiteX43" fmla="*/ 3431593 w 6857455"/>
                <a:gd name="connsiteY43" fmla="*/ 360921 h 874716"/>
                <a:gd name="connsiteX44" fmla="*/ 3392158 w 6857455"/>
                <a:gd name="connsiteY44" fmla="*/ 345681 h 874716"/>
                <a:gd name="connsiteX45" fmla="*/ 3297856 w 6857455"/>
                <a:gd name="connsiteY45" fmla="*/ 323010 h 874716"/>
                <a:gd name="connsiteX46" fmla="*/ 3219748 w 6857455"/>
                <a:gd name="connsiteY46" fmla="*/ 308151 h 874716"/>
                <a:gd name="connsiteX47" fmla="*/ 3156692 w 6857455"/>
                <a:gd name="connsiteY47" fmla="*/ 261668 h 874716"/>
                <a:gd name="connsiteX48" fmla="*/ 3136497 w 6857455"/>
                <a:gd name="connsiteY48" fmla="*/ 237663 h 874716"/>
                <a:gd name="connsiteX49" fmla="*/ 3119733 w 6857455"/>
                <a:gd name="connsiteY49" fmla="*/ 222233 h 874716"/>
                <a:gd name="connsiteX50" fmla="*/ 3045436 w 6857455"/>
                <a:gd name="connsiteY50" fmla="*/ 131742 h 874716"/>
                <a:gd name="connsiteX51" fmla="*/ 3037054 w 6857455"/>
                <a:gd name="connsiteY51" fmla="*/ 124121 h 874716"/>
                <a:gd name="connsiteX52" fmla="*/ 2936466 w 6857455"/>
                <a:gd name="connsiteY52" fmla="*/ 82400 h 874716"/>
                <a:gd name="connsiteX53" fmla="*/ 2901031 w 6857455"/>
                <a:gd name="connsiteY53" fmla="*/ 59731 h 874716"/>
                <a:gd name="connsiteX54" fmla="*/ 2828259 w 6857455"/>
                <a:gd name="connsiteY54" fmla="*/ 3149 h 874716"/>
                <a:gd name="connsiteX55" fmla="*/ 2799492 w 6857455"/>
                <a:gd name="connsiteY55" fmla="*/ 1245 h 874716"/>
                <a:gd name="connsiteX56" fmla="*/ 2693570 w 6857455"/>
                <a:gd name="connsiteY56" fmla="*/ 35154 h 874716"/>
                <a:gd name="connsiteX57" fmla="*/ 2639847 w 6857455"/>
                <a:gd name="connsiteY57" fmla="*/ 73448 h 874716"/>
                <a:gd name="connsiteX58" fmla="*/ 2621178 w 6857455"/>
                <a:gd name="connsiteY58" fmla="*/ 88688 h 874716"/>
                <a:gd name="connsiteX59" fmla="*/ 2489348 w 6857455"/>
                <a:gd name="connsiteY59" fmla="*/ 72304 h 874716"/>
                <a:gd name="connsiteX60" fmla="*/ 2452580 w 6857455"/>
                <a:gd name="connsiteY60" fmla="*/ 68683 h 874716"/>
                <a:gd name="connsiteX61" fmla="*/ 2326464 w 6857455"/>
                <a:gd name="connsiteY61" fmla="*/ 50395 h 874716"/>
                <a:gd name="connsiteX62" fmla="*/ 2300365 w 6857455"/>
                <a:gd name="connsiteY62" fmla="*/ 54777 h 874716"/>
                <a:gd name="connsiteX63" fmla="*/ 2130434 w 6857455"/>
                <a:gd name="connsiteY63" fmla="*/ 58397 h 874716"/>
                <a:gd name="connsiteX64" fmla="*/ 2118621 w 6857455"/>
                <a:gd name="connsiteY64" fmla="*/ 47919 h 874716"/>
                <a:gd name="connsiteX65" fmla="*/ 2057659 w 6857455"/>
                <a:gd name="connsiteY65" fmla="*/ 16866 h 874716"/>
                <a:gd name="connsiteX66" fmla="*/ 1976314 w 6857455"/>
                <a:gd name="connsiteY66" fmla="*/ 8865 h 874716"/>
                <a:gd name="connsiteX67" fmla="*/ 1961454 w 6857455"/>
                <a:gd name="connsiteY67" fmla="*/ 11724 h 874716"/>
                <a:gd name="connsiteX68" fmla="*/ 1906588 w 6857455"/>
                <a:gd name="connsiteY68" fmla="*/ 30964 h 874716"/>
                <a:gd name="connsiteX69" fmla="*/ 1783330 w 6857455"/>
                <a:gd name="connsiteY69" fmla="*/ 48871 h 874716"/>
                <a:gd name="connsiteX70" fmla="*/ 1759327 w 6857455"/>
                <a:gd name="connsiteY70" fmla="*/ 55349 h 874716"/>
                <a:gd name="connsiteX71" fmla="*/ 1716082 w 6857455"/>
                <a:gd name="connsiteY71" fmla="*/ 65445 h 874716"/>
                <a:gd name="connsiteX72" fmla="*/ 1598920 w 6857455"/>
                <a:gd name="connsiteY72" fmla="*/ 72114 h 874716"/>
                <a:gd name="connsiteX73" fmla="*/ 1542150 w 6857455"/>
                <a:gd name="connsiteY73" fmla="*/ 62207 h 874716"/>
                <a:gd name="connsiteX74" fmla="*/ 1516813 w 6857455"/>
                <a:gd name="connsiteY74" fmla="*/ 62779 h 874716"/>
                <a:gd name="connsiteX75" fmla="*/ 1432228 w 6857455"/>
                <a:gd name="connsiteY75" fmla="*/ 88116 h 874716"/>
                <a:gd name="connsiteX76" fmla="*/ 1224765 w 6857455"/>
                <a:gd name="connsiteY76" fmla="*/ 71924 h 874716"/>
                <a:gd name="connsiteX77" fmla="*/ 1159231 w 6857455"/>
                <a:gd name="connsiteY77" fmla="*/ 58207 h 874716"/>
                <a:gd name="connsiteX78" fmla="*/ 1124370 w 6857455"/>
                <a:gd name="connsiteY78" fmla="*/ 56301 h 874716"/>
                <a:gd name="connsiteX79" fmla="*/ 1075600 w 6857455"/>
                <a:gd name="connsiteY79" fmla="*/ 75542 h 874716"/>
                <a:gd name="connsiteX80" fmla="*/ 986633 w 6857455"/>
                <a:gd name="connsiteY80" fmla="*/ 79162 h 874716"/>
                <a:gd name="connsiteX81" fmla="*/ 861089 w 6857455"/>
                <a:gd name="connsiteY81" fmla="*/ 76304 h 874716"/>
                <a:gd name="connsiteX82" fmla="*/ 759168 w 6857455"/>
                <a:gd name="connsiteY82" fmla="*/ 104689 h 874716"/>
                <a:gd name="connsiteX83" fmla="*/ 723735 w 6857455"/>
                <a:gd name="connsiteY83" fmla="*/ 140696 h 874716"/>
                <a:gd name="connsiteX84" fmla="*/ 647532 w 6857455"/>
                <a:gd name="connsiteY84" fmla="*/ 147934 h 874716"/>
                <a:gd name="connsiteX85" fmla="*/ 552659 w 6857455"/>
                <a:gd name="connsiteY85" fmla="*/ 95926 h 874716"/>
                <a:gd name="connsiteX86" fmla="*/ 541800 w 6857455"/>
                <a:gd name="connsiteY86" fmla="*/ 97640 h 874716"/>
                <a:gd name="connsiteX87" fmla="*/ 375107 w 6857455"/>
                <a:gd name="connsiteY87" fmla="*/ 123169 h 874716"/>
                <a:gd name="connsiteX88" fmla="*/ 273567 w 6857455"/>
                <a:gd name="connsiteY88" fmla="*/ 145458 h 874716"/>
                <a:gd name="connsiteX89" fmla="*/ 264043 w 6857455"/>
                <a:gd name="connsiteY89" fmla="*/ 154792 h 874716"/>
                <a:gd name="connsiteX90" fmla="*/ 169360 w 6857455"/>
                <a:gd name="connsiteY90" fmla="*/ 177273 h 874716"/>
                <a:gd name="connsiteX91" fmla="*/ 89347 w 6857455"/>
                <a:gd name="connsiteY91" fmla="*/ 157460 h 874716"/>
                <a:gd name="connsiteX92" fmla="*/ 34291 w 6857455"/>
                <a:gd name="connsiteY92" fmla="*/ 145268 h 874716"/>
                <a:gd name="connsiteX93" fmla="*/ 0 w 6857455"/>
                <a:gd name="connsiteY93" fmla="*/ 142056 h 874716"/>
                <a:gd name="connsiteX94" fmla="*/ 0 w 6857455"/>
                <a:gd name="connsiteY94" fmla="*/ 849556 h 874716"/>
                <a:gd name="connsiteX95" fmla="*/ 60652 w 6857455"/>
                <a:gd name="connsiteY95" fmla="*/ 844783 h 874716"/>
                <a:gd name="connsiteX96" fmla="*/ 119068 w 6857455"/>
                <a:gd name="connsiteY96" fmla="*/ 827281 h 874716"/>
                <a:gd name="connsiteX97" fmla="*/ 171840 w 6857455"/>
                <a:gd name="connsiteY97" fmla="*/ 804420 h 874716"/>
                <a:gd name="connsiteX98" fmla="*/ 274329 w 6857455"/>
                <a:gd name="connsiteY98" fmla="*/ 794324 h 874716"/>
                <a:gd name="connsiteX99" fmla="*/ 306715 w 6857455"/>
                <a:gd name="connsiteY99" fmla="*/ 788798 h 874716"/>
                <a:gd name="connsiteX100" fmla="*/ 393967 w 6857455"/>
                <a:gd name="connsiteY100" fmla="*/ 765937 h 874716"/>
                <a:gd name="connsiteX101" fmla="*/ 493793 w 6857455"/>
                <a:gd name="connsiteY101" fmla="*/ 725549 h 874716"/>
                <a:gd name="connsiteX102" fmla="*/ 546373 w 6857455"/>
                <a:gd name="connsiteY102" fmla="*/ 740600 h 874716"/>
                <a:gd name="connsiteX103" fmla="*/ 730211 w 6857455"/>
                <a:gd name="connsiteY103" fmla="*/ 698116 h 874716"/>
                <a:gd name="connsiteX104" fmla="*/ 784889 w 6857455"/>
                <a:gd name="connsiteY104" fmla="*/ 676018 h 874716"/>
                <a:gd name="connsiteX105" fmla="*/ 800509 w 6857455"/>
                <a:gd name="connsiteY105" fmla="*/ 661349 h 874716"/>
                <a:gd name="connsiteX106" fmla="*/ 857661 w 6857455"/>
                <a:gd name="connsiteY106" fmla="*/ 626868 h 874716"/>
                <a:gd name="connsiteX107" fmla="*/ 949102 w 6857455"/>
                <a:gd name="connsiteY107" fmla="*/ 614676 h 874716"/>
                <a:gd name="connsiteX108" fmla="*/ 960342 w 6857455"/>
                <a:gd name="connsiteY108" fmla="*/ 607435 h 874716"/>
                <a:gd name="connsiteX109" fmla="*/ 977109 w 6857455"/>
                <a:gd name="connsiteY109" fmla="*/ 595815 h 874716"/>
                <a:gd name="connsiteX110" fmla="*/ 1071218 w 6857455"/>
                <a:gd name="connsiteY110" fmla="*/ 575240 h 874716"/>
                <a:gd name="connsiteX111" fmla="*/ 1091983 w 6857455"/>
                <a:gd name="connsiteY111" fmla="*/ 568764 h 874716"/>
                <a:gd name="connsiteX112" fmla="*/ 1109321 w 6857455"/>
                <a:gd name="connsiteY112" fmla="*/ 557904 h 874716"/>
                <a:gd name="connsiteX113" fmla="*/ 1162279 w 6857455"/>
                <a:gd name="connsiteY113" fmla="*/ 532949 h 874716"/>
                <a:gd name="connsiteX114" fmla="*/ 1206097 w 6857455"/>
                <a:gd name="connsiteY114" fmla="*/ 532187 h 874716"/>
                <a:gd name="connsiteX115" fmla="*/ 1266867 w 6857455"/>
                <a:gd name="connsiteY115" fmla="*/ 518088 h 874716"/>
                <a:gd name="connsiteX116" fmla="*/ 1380219 w 6857455"/>
                <a:gd name="connsiteY116" fmla="*/ 504182 h 874716"/>
                <a:gd name="connsiteX117" fmla="*/ 1403461 w 6857455"/>
                <a:gd name="connsiteY117" fmla="*/ 496180 h 874716"/>
                <a:gd name="connsiteX118" fmla="*/ 1544054 w 6857455"/>
                <a:gd name="connsiteY118" fmla="*/ 458268 h 874716"/>
                <a:gd name="connsiteX119" fmla="*/ 1656644 w 6857455"/>
                <a:gd name="connsiteY119" fmla="*/ 459032 h 874716"/>
                <a:gd name="connsiteX120" fmla="*/ 1665406 w 6857455"/>
                <a:gd name="connsiteY120" fmla="*/ 460747 h 874716"/>
                <a:gd name="connsiteX121" fmla="*/ 1708461 w 6857455"/>
                <a:gd name="connsiteY121" fmla="*/ 473318 h 874716"/>
                <a:gd name="connsiteX122" fmla="*/ 1775140 w 6857455"/>
                <a:gd name="connsiteY122" fmla="*/ 469891 h 874716"/>
                <a:gd name="connsiteX123" fmla="*/ 1821051 w 6857455"/>
                <a:gd name="connsiteY123" fmla="*/ 452554 h 874716"/>
                <a:gd name="connsiteX124" fmla="*/ 1878203 w 6857455"/>
                <a:gd name="connsiteY124" fmla="*/ 451792 h 874716"/>
                <a:gd name="connsiteX125" fmla="*/ 1943547 w 6857455"/>
                <a:gd name="connsiteY125" fmla="*/ 462651 h 874716"/>
                <a:gd name="connsiteX126" fmla="*/ 1972884 w 6857455"/>
                <a:gd name="connsiteY126" fmla="*/ 464937 h 874716"/>
                <a:gd name="connsiteX127" fmla="*/ 2053469 w 6857455"/>
                <a:gd name="connsiteY127" fmla="*/ 487417 h 874716"/>
                <a:gd name="connsiteX128" fmla="*/ 2101477 w 6857455"/>
                <a:gd name="connsiteY128" fmla="*/ 481893 h 874716"/>
                <a:gd name="connsiteX129" fmla="*/ 2148722 w 6857455"/>
                <a:gd name="connsiteY129" fmla="*/ 467033 h 874716"/>
                <a:gd name="connsiteX130" fmla="*/ 2179011 w 6857455"/>
                <a:gd name="connsiteY130" fmla="*/ 452744 h 874716"/>
                <a:gd name="connsiteX131" fmla="*/ 2240165 w 6857455"/>
                <a:gd name="connsiteY131" fmla="*/ 442648 h 874716"/>
                <a:gd name="connsiteX132" fmla="*/ 2251404 w 6857455"/>
                <a:gd name="connsiteY132" fmla="*/ 444172 h 874716"/>
                <a:gd name="connsiteX133" fmla="*/ 2433912 w 6857455"/>
                <a:gd name="connsiteY133" fmla="*/ 456746 h 874716"/>
                <a:gd name="connsiteX134" fmla="*/ 2506302 w 6857455"/>
                <a:gd name="connsiteY134" fmla="*/ 476939 h 874716"/>
                <a:gd name="connsiteX135" fmla="*/ 2521735 w 6857455"/>
                <a:gd name="connsiteY135" fmla="*/ 479415 h 874716"/>
                <a:gd name="connsiteX136" fmla="*/ 2675854 w 6857455"/>
                <a:gd name="connsiteY136" fmla="*/ 502086 h 874716"/>
                <a:gd name="connsiteX137" fmla="*/ 2692998 w 6857455"/>
                <a:gd name="connsiteY137" fmla="*/ 503038 h 874716"/>
                <a:gd name="connsiteX138" fmla="*/ 2740816 w 6857455"/>
                <a:gd name="connsiteY138" fmla="*/ 499037 h 874716"/>
                <a:gd name="connsiteX139" fmla="*/ 2853596 w 6857455"/>
                <a:gd name="connsiteY139" fmla="*/ 540187 h 874716"/>
                <a:gd name="connsiteX140" fmla="*/ 2966565 w 6857455"/>
                <a:gd name="connsiteY140" fmla="*/ 554286 h 874716"/>
                <a:gd name="connsiteX141" fmla="*/ 3028671 w 6857455"/>
                <a:gd name="connsiteY141" fmla="*/ 554094 h 874716"/>
                <a:gd name="connsiteX142" fmla="*/ 3073059 w 6857455"/>
                <a:gd name="connsiteY142" fmla="*/ 564192 h 874716"/>
                <a:gd name="connsiteX143" fmla="*/ 3182219 w 6857455"/>
                <a:gd name="connsiteY143" fmla="*/ 594862 h 874716"/>
                <a:gd name="connsiteX144" fmla="*/ 3233656 w 6857455"/>
                <a:gd name="connsiteY144" fmla="*/ 599625 h 874716"/>
                <a:gd name="connsiteX145" fmla="*/ 3288332 w 6857455"/>
                <a:gd name="connsiteY145" fmla="*/ 609914 h 874716"/>
                <a:gd name="connsiteX146" fmla="*/ 3423591 w 6857455"/>
                <a:gd name="connsiteY146" fmla="*/ 656015 h 874716"/>
                <a:gd name="connsiteX147" fmla="*/ 3534084 w 6857455"/>
                <a:gd name="connsiteY147" fmla="*/ 653349 h 874716"/>
                <a:gd name="connsiteX148" fmla="*/ 3604571 w 6857455"/>
                <a:gd name="connsiteY148" fmla="*/ 653918 h 874716"/>
                <a:gd name="connsiteX149" fmla="*/ 3688586 w 6857455"/>
                <a:gd name="connsiteY149" fmla="*/ 669160 h 874716"/>
                <a:gd name="connsiteX150" fmla="*/ 3757358 w 6857455"/>
                <a:gd name="connsiteY150" fmla="*/ 691450 h 874716"/>
                <a:gd name="connsiteX151" fmla="*/ 3852421 w 6857455"/>
                <a:gd name="connsiteY151" fmla="*/ 709167 h 874716"/>
                <a:gd name="connsiteX152" fmla="*/ 3947104 w 6857455"/>
                <a:gd name="connsiteY152" fmla="*/ 743267 h 874716"/>
                <a:gd name="connsiteX153" fmla="*/ 4013208 w 6857455"/>
                <a:gd name="connsiteY153" fmla="*/ 769367 h 874716"/>
                <a:gd name="connsiteX154" fmla="*/ 4105222 w 6857455"/>
                <a:gd name="connsiteY154" fmla="*/ 792417 h 874716"/>
                <a:gd name="connsiteX155" fmla="*/ 4246006 w 6857455"/>
                <a:gd name="connsiteY155" fmla="*/ 808610 h 874716"/>
                <a:gd name="connsiteX156" fmla="*/ 4310779 w 6857455"/>
                <a:gd name="connsiteY156" fmla="*/ 810326 h 874716"/>
                <a:gd name="connsiteX157" fmla="*/ 4413272 w 6857455"/>
                <a:gd name="connsiteY157" fmla="*/ 848235 h 874716"/>
                <a:gd name="connsiteX158" fmla="*/ 4457087 w 6857455"/>
                <a:gd name="connsiteY158" fmla="*/ 866524 h 874716"/>
                <a:gd name="connsiteX159" fmla="*/ 4496523 w 6857455"/>
                <a:gd name="connsiteY159" fmla="*/ 851284 h 874716"/>
                <a:gd name="connsiteX160" fmla="*/ 4522050 w 6857455"/>
                <a:gd name="connsiteY160" fmla="*/ 833757 h 874716"/>
                <a:gd name="connsiteX161" fmla="*/ 4602824 w 6857455"/>
                <a:gd name="connsiteY161" fmla="*/ 848618 h 874716"/>
                <a:gd name="connsiteX162" fmla="*/ 4688553 w 6857455"/>
                <a:gd name="connsiteY162" fmla="*/ 864238 h 874716"/>
                <a:gd name="connsiteX163" fmla="*/ 4749895 w 6857455"/>
                <a:gd name="connsiteY163" fmla="*/ 874716 h 874716"/>
                <a:gd name="connsiteX164" fmla="*/ 4826480 w 6857455"/>
                <a:gd name="connsiteY164" fmla="*/ 866334 h 874716"/>
                <a:gd name="connsiteX165" fmla="*/ 4886870 w 6857455"/>
                <a:gd name="connsiteY165" fmla="*/ 862906 h 874716"/>
                <a:gd name="connsiteX166" fmla="*/ 4935639 w 6857455"/>
                <a:gd name="connsiteY166" fmla="*/ 853190 h 874716"/>
                <a:gd name="connsiteX167" fmla="*/ 4952784 w 6857455"/>
                <a:gd name="connsiteY167" fmla="*/ 847473 h 874716"/>
                <a:gd name="connsiteX168" fmla="*/ 5088617 w 6857455"/>
                <a:gd name="connsiteY168" fmla="*/ 802896 h 874716"/>
                <a:gd name="connsiteX169" fmla="*/ 5233781 w 6857455"/>
                <a:gd name="connsiteY169" fmla="*/ 767271 h 874716"/>
                <a:gd name="connsiteX170" fmla="*/ 5327893 w 6857455"/>
                <a:gd name="connsiteY170" fmla="*/ 789752 h 874716"/>
                <a:gd name="connsiteX171" fmla="*/ 5362946 w 6857455"/>
                <a:gd name="connsiteY171" fmla="*/ 789370 h 874716"/>
                <a:gd name="connsiteX172" fmla="*/ 5524115 w 6857455"/>
                <a:gd name="connsiteY172" fmla="*/ 794514 h 874716"/>
                <a:gd name="connsiteX173" fmla="*/ 5552500 w 6857455"/>
                <a:gd name="connsiteY173" fmla="*/ 800038 h 874716"/>
                <a:gd name="connsiteX174" fmla="*/ 5705857 w 6857455"/>
                <a:gd name="connsiteY174" fmla="*/ 777367 h 874716"/>
                <a:gd name="connsiteX175" fmla="*/ 5761485 w 6857455"/>
                <a:gd name="connsiteY175" fmla="*/ 773557 h 874716"/>
                <a:gd name="connsiteX176" fmla="*/ 5812731 w 6857455"/>
                <a:gd name="connsiteY176" fmla="*/ 767271 h 874716"/>
                <a:gd name="connsiteX177" fmla="*/ 5884361 w 6857455"/>
                <a:gd name="connsiteY177" fmla="*/ 765747 h 874716"/>
                <a:gd name="connsiteX178" fmla="*/ 5958660 w 6857455"/>
                <a:gd name="connsiteY178" fmla="*/ 768605 h 874716"/>
                <a:gd name="connsiteX179" fmla="*/ 6041528 w 6857455"/>
                <a:gd name="connsiteY179" fmla="*/ 768033 h 874716"/>
                <a:gd name="connsiteX180" fmla="*/ 6074297 w 6857455"/>
                <a:gd name="connsiteY180" fmla="*/ 763081 h 874716"/>
                <a:gd name="connsiteX181" fmla="*/ 6162880 w 6857455"/>
                <a:gd name="connsiteY181" fmla="*/ 766509 h 874716"/>
                <a:gd name="connsiteX182" fmla="*/ 6209364 w 6857455"/>
                <a:gd name="connsiteY182" fmla="*/ 760795 h 874716"/>
                <a:gd name="connsiteX183" fmla="*/ 6285948 w 6857455"/>
                <a:gd name="connsiteY183" fmla="*/ 759651 h 874716"/>
                <a:gd name="connsiteX184" fmla="*/ 6310905 w 6857455"/>
                <a:gd name="connsiteY184" fmla="*/ 758316 h 874716"/>
                <a:gd name="connsiteX185" fmla="*/ 6333194 w 6857455"/>
                <a:gd name="connsiteY185" fmla="*/ 757554 h 874716"/>
                <a:gd name="connsiteX186" fmla="*/ 6409586 w 6857455"/>
                <a:gd name="connsiteY186" fmla="*/ 773177 h 874716"/>
                <a:gd name="connsiteX187" fmla="*/ 6477407 w 6857455"/>
                <a:gd name="connsiteY187" fmla="*/ 774129 h 874716"/>
                <a:gd name="connsiteX188" fmla="*/ 6596283 w 6857455"/>
                <a:gd name="connsiteY188" fmla="*/ 786703 h 874716"/>
                <a:gd name="connsiteX189" fmla="*/ 6622573 w 6857455"/>
                <a:gd name="connsiteY189" fmla="*/ 782321 h 874716"/>
                <a:gd name="connsiteX190" fmla="*/ 6704872 w 6857455"/>
                <a:gd name="connsiteY190" fmla="*/ 780607 h 874716"/>
                <a:gd name="connsiteX191" fmla="*/ 6751738 w 6857455"/>
                <a:gd name="connsiteY191" fmla="*/ 779273 h 874716"/>
                <a:gd name="connsiteX192" fmla="*/ 6809650 w 6857455"/>
                <a:gd name="connsiteY192" fmla="*/ 788417 h 874716"/>
                <a:gd name="connsiteX193" fmla="*/ 6832976 w 6857455"/>
                <a:gd name="connsiteY193" fmla="*/ 800428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6857455" h="874716">
                  <a:moveTo>
                    <a:pt x="6857455" y="804643"/>
                  </a:moveTo>
                  <a:lnTo>
                    <a:pt x="6857455" y="562246"/>
                  </a:lnTo>
                  <a:lnTo>
                    <a:pt x="6829178" y="551284"/>
                  </a:lnTo>
                  <a:cubicBezTo>
                    <a:pt x="6805745" y="539044"/>
                    <a:pt x="6784885" y="521708"/>
                    <a:pt x="6766024" y="500372"/>
                  </a:cubicBezTo>
                  <a:cubicBezTo>
                    <a:pt x="6755166" y="488179"/>
                    <a:pt x="6746784" y="486845"/>
                    <a:pt x="6734971" y="500944"/>
                  </a:cubicBezTo>
                  <a:cubicBezTo>
                    <a:pt x="6721257" y="517326"/>
                    <a:pt x="6701634" y="510850"/>
                    <a:pt x="6683915" y="507040"/>
                  </a:cubicBezTo>
                  <a:cubicBezTo>
                    <a:pt x="6665629" y="503230"/>
                    <a:pt x="6647148" y="499228"/>
                    <a:pt x="6628860" y="495418"/>
                  </a:cubicBezTo>
                  <a:cubicBezTo>
                    <a:pt x="6615335" y="492752"/>
                    <a:pt x="6601999" y="490466"/>
                    <a:pt x="6588662" y="487227"/>
                  </a:cubicBezTo>
                  <a:cubicBezTo>
                    <a:pt x="6547133" y="477129"/>
                    <a:pt x="6509794" y="480177"/>
                    <a:pt x="6476074" y="511230"/>
                  </a:cubicBezTo>
                  <a:cubicBezTo>
                    <a:pt x="6450356" y="535043"/>
                    <a:pt x="6417399" y="542093"/>
                    <a:pt x="6382345" y="534853"/>
                  </a:cubicBezTo>
                  <a:cubicBezTo>
                    <a:pt x="6377963" y="533901"/>
                    <a:pt x="6372439" y="530091"/>
                    <a:pt x="6369391" y="531615"/>
                  </a:cubicBezTo>
                  <a:cubicBezTo>
                    <a:pt x="6323479" y="553904"/>
                    <a:pt x="6287092" y="514658"/>
                    <a:pt x="6244799" y="512182"/>
                  </a:cubicBezTo>
                  <a:cubicBezTo>
                    <a:pt x="6226130" y="511040"/>
                    <a:pt x="6207079" y="496942"/>
                    <a:pt x="6190315" y="485703"/>
                  </a:cubicBezTo>
                  <a:cubicBezTo>
                    <a:pt x="6167262" y="470271"/>
                    <a:pt x="6146687" y="455412"/>
                    <a:pt x="6115446" y="462270"/>
                  </a:cubicBezTo>
                  <a:cubicBezTo>
                    <a:pt x="6084203" y="469319"/>
                    <a:pt x="6055627" y="456364"/>
                    <a:pt x="6032194" y="434266"/>
                  </a:cubicBezTo>
                  <a:cubicBezTo>
                    <a:pt x="6014287" y="417501"/>
                    <a:pt x="5994665" y="415977"/>
                    <a:pt x="5971042" y="420738"/>
                  </a:cubicBezTo>
                  <a:cubicBezTo>
                    <a:pt x="5941513" y="426645"/>
                    <a:pt x="5910842" y="427027"/>
                    <a:pt x="5880933" y="430646"/>
                  </a:cubicBezTo>
                  <a:cubicBezTo>
                    <a:pt x="5874454" y="431408"/>
                    <a:pt x="5866265" y="434076"/>
                    <a:pt x="5862452" y="438648"/>
                  </a:cubicBezTo>
                  <a:cubicBezTo>
                    <a:pt x="5815779" y="495418"/>
                    <a:pt x="5750055" y="495990"/>
                    <a:pt x="5685283" y="498658"/>
                  </a:cubicBezTo>
                  <a:cubicBezTo>
                    <a:pt x="5646039" y="500372"/>
                    <a:pt x="5606604" y="500372"/>
                    <a:pt x="5567169" y="499420"/>
                  </a:cubicBezTo>
                  <a:cubicBezTo>
                    <a:pt x="5553832" y="499228"/>
                    <a:pt x="5539736" y="496180"/>
                    <a:pt x="5527923" y="490466"/>
                  </a:cubicBezTo>
                  <a:cubicBezTo>
                    <a:pt x="5503348" y="478463"/>
                    <a:pt x="5480680" y="462843"/>
                    <a:pt x="5456292" y="450650"/>
                  </a:cubicBezTo>
                  <a:cubicBezTo>
                    <a:pt x="5447151" y="445886"/>
                    <a:pt x="5435338" y="445696"/>
                    <a:pt x="5424670" y="444934"/>
                  </a:cubicBezTo>
                  <a:cubicBezTo>
                    <a:pt x="5405809" y="443410"/>
                    <a:pt x="5384854" y="447982"/>
                    <a:pt x="5368662" y="441124"/>
                  </a:cubicBezTo>
                  <a:cubicBezTo>
                    <a:pt x="5326559" y="423407"/>
                    <a:pt x="5287123" y="427407"/>
                    <a:pt x="5247118" y="444934"/>
                  </a:cubicBezTo>
                  <a:cubicBezTo>
                    <a:pt x="5191108" y="469509"/>
                    <a:pt x="5138148" y="467605"/>
                    <a:pt x="5088617" y="428742"/>
                  </a:cubicBezTo>
                  <a:cubicBezTo>
                    <a:pt x="5066328" y="411215"/>
                    <a:pt x="5044609" y="419596"/>
                    <a:pt x="5025750" y="433694"/>
                  </a:cubicBezTo>
                  <a:cubicBezTo>
                    <a:pt x="5004032" y="450078"/>
                    <a:pt x="4982885" y="454268"/>
                    <a:pt x="4957930" y="442268"/>
                  </a:cubicBezTo>
                  <a:cubicBezTo>
                    <a:pt x="4952404" y="439600"/>
                    <a:pt x="4944594" y="440933"/>
                    <a:pt x="4938116" y="441886"/>
                  </a:cubicBezTo>
                  <a:cubicBezTo>
                    <a:pt x="4901158" y="446648"/>
                    <a:pt x="4864009" y="454650"/>
                    <a:pt x="4833910" y="421693"/>
                  </a:cubicBezTo>
                  <a:cubicBezTo>
                    <a:pt x="4828004" y="415214"/>
                    <a:pt x="4818097" y="412549"/>
                    <a:pt x="4810095" y="408167"/>
                  </a:cubicBezTo>
                  <a:cubicBezTo>
                    <a:pt x="4776566" y="390258"/>
                    <a:pt x="4777900" y="391974"/>
                    <a:pt x="4747991" y="413691"/>
                  </a:cubicBezTo>
                  <a:cubicBezTo>
                    <a:pt x="4732369" y="425121"/>
                    <a:pt x="4710842" y="436742"/>
                    <a:pt x="4692745" y="435790"/>
                  </a:cubicBezTo>
                  <a:cubicBezTo>
                    <a:pt x="4583584" y="430075"/>
                    <a:pt x="4479758" y="457508"/>
                    <a:pt x="4375933" y="483417"/>
                  </a:cubicBezTo>
                  <a:cubicBezTo>
                    <a:pt x="4311923" y="499420"/>
                    <a:pt x="4249436" y="500372"/>
                    <a:pt x="4185426" y="484179"/>
                  </a:cubicBezTo>
                  <a:cubicBezTo>
                    <a:pt x="4139133" y="472367"/>
                    <a:pt x="4095315" y="491800"/>
                    <a:pt x="4052072" y="505134"/>
                  </a:cubicBezTo>
                  <a:cubicBezTo>
                    <a:pt x="4043117" y="507799"/>
                    <a:pt x="4034735" y="518278"/>
                    <a:pt x="4029973" y="527233"/>
                  </a:cubicBezTo>
                  <a:cubicBezTo>
                    <a:pt x="4012826" y="558858"/>
                    <a:pt x="3984441" y="563810"/>
                    <a:pt x="3948626" y="550666"/>
                  </a:cubicBezTo>
                  <a:cubicBezTo>
                    <a:pt x="3920241" y="540377"/>
                    <a:pt x="3894332" y="526661"/>
                    <a:pt x="3871280" y="502275"/>
                  </a:cubicBezTo>
                  <a:cubicBezTo>
                    <a:pt x="3844229" y="473701"/>
                    <a:pt x="3816224" y="441124"/>
                    <a:pt x="3774312" y="429122"/>
                  </a:cubicBezTo>
                  <a:cubicBezTo>
                    <a:pt x="3756214" y="423979"/>
                    <a:pt x="3740593" y="423217"/>
                    <a:pt x="3721543" y="428552"/>
                  </a:cubicBezTo>
                  <a:cubicBezTo>
                    <a:pt x="3684583" y="438837"/>
                    <a:pt x="3647436" y="446078"/>
                    <a:pt x="3612763" y="414263"/>
                  </a:cubicBezTo>
                  <a:cubicBezTo>
                    <a:pt x="3593712" y="396736"/>
                    <a:pt x="3567994" y="385496"/>
                    <a:pt x="3537323" y="389878"/>
                  </a:cubicBezTo>
                  <a:cubicBezTo>
                    <a:pt x="3499031" y="395402"/>
                    <a:pt x="3464168" y="381496"/>
                    <a:pt x="3431593" y="360921"/>
                  </a:cubicBezTo>
                  <a:cubicBezTo>
                    <a:pt x="3419971" y="353491"/>
                    <a:pt x="3405682" y="349301"/>
                    <a:pt x="3392158" y="345681"/>
                  </a:cubicBezTo>
                  <a:cubicBezTo>
                    <a:pt x="3360915" y="337298"/>
                    <a:pt x="3329480" y="329868"/>
                    <a:pt x="3297856" y="323010"/>
                  </a:cubicBezTo>
                  <a:cubicBezTo>
                    <a:pt x="3271948" y="317296"/>
                    <a:pt x="3245849" y="313104"/>
                    <a:pt x="3219748" y="308151"/>
                  </a:cubicBezTo>
                  <a:cubicBezTo>
                    <a:pt x="3191173" y="302817"/>
                    <a:pt x="3168502" y="290433"/>
                    <a:pt x="3156692" y="261668"/>
                  </a:cubicBezTo>
                  <a:cubicBezTo>
                    <a:pt x="3152882" y="252524"/>
                    <a:pt x="3143737" y="245283"/>
                    <a:pt x="3136497" y="237663"/>
                  </a:cubicBezTo>
                  <a:cubicBezTo>
                    <a:pt x="3131355" y="232139"/>
                    <a:pt x="3124495" y="227947"/>
                    <a:pt x="3119733" y="222233"/>
                  </a:cubicBezTo>
                  <a:cubicBezTo>
                    <a:pt x="3094776" y="192132"/>
                    <a:pt x="3070201" y="161843"/>
                    <a:pt x="3045436" y="131742"/>
                  </a:cubicBezTo>
                  <a:cubicBezTo>
                    <a:pt x="3042958" y="128884"/>
                    <a:pt x="3040292" y="125455"/>
                    <a:pt x="3037054" y="124121"/>
                  </a:cubicBezTo>
                  <a:cubicBezTo>
                    <a:pt x="3003525" y="110215"/>
                    <a:pt x="2969614" y="97070"/>
                    <a:pt x="2936466" y="82400"/>
                  </a:cubicBezTo>
                  <a:cubicBezTo>
                    <a:pt x="2923702" y="76686"/>
                    <a:pt x="2910558" y="69637"/>
                    <a:pt x="2901031" y="59731"/>
                  </a:cubicBezTo>
                  <a:cubicBezTo>
                    <a:pt x="2879314" y="37250"/>
                    <a:pt x="2859502" y="12866"/>
                    <a:pt x="2828259" y="3149"/>
                  </a:cubicBezTo>
                  <a:cubicBezTo>
                    <a:pt x="2819114" y="293"/>
                    <a:pt x="2808256" y="-1231"/>
                    <a:pt x="2799492" y="1245"/>
                  </a:cubicBezTo>
                  <a:cubicBezTo>
                    <a:pt x="2763867" y="11532"/>
                    <a:pt x="2729005" y="24296"/>
                    <a:pt x="2693570" y="35154"/>
                  </a:cubicBezTo>
                  <a:cubicBezTo>
                    <a:pt x="2671092" y="41823"/>
                    <a:pt x="2650707" y="49825"/>
                    <a:pt x="2639847" y="73448"/>
                  </a:cubicBezTo>
                  <a:cubicBezTo>
                    <a:pt x="2636801" y="80114"/>
                    <a:pt x="2628226" y="87354"/>
                    <a:pt x="2621178" y="88688"/>
                  </a:cubicBezTo>
                  <a:cubicBezTo>
                    <a:pt x="2575839" y="97260"/>
                    <a:pt x="2531069" y="101451"/>
                    <a:pt x="2489348" y="72304"/>
                  </a:cubicBezTo>
                  <a:cubicBezTo>
                    <a:pt x="2480585" y="66017"/>
                    <a:pt x="2464201" y="66017"/>
                    <a:pt x="2452580" y="68683"/>
                  </a:cubicBezTo>
                  <a:cubicBezTo>
                    <a:pt x="2407811" y="78590"/>
                    <a:pt x="2365328" y="82020"/>
                    <a:pt x="2326464" y="50395"/>
                  </a:cubicBezTo>
                  <a:cubicBezTo>
                    <a:pt x="2321892" y="46585"/>
                    <a:pt x="2307224" y="50015"/>
                    <a:pt x="2300365" y="54777"/>
                  </a:cubicBezTo>
                  <a:cubicBezTo>
                    <a:pt x="2234259" y="101261"/>
                    <a:pt x="2198064" y="102405"/>
                    <a:pt x="2130434" y="58397"/>
                  </a:cubicBezTo>
                  <a:cubicBezTo>
                    <a:pt x="2126052" y="55539"/>
                    <a:pt x="2120337" y="52301"/>
                    <a:pt x="2118621" y="47919"/>
                  </a:cubicBezTo>
                  <a:cubicBezTo>
                    <a:pt x="2107001" y="19914"/>
                    <a:pt x="2082236" y="19152"/>
                    <a:pt x="2057659" y="16866"/>
                  </a:cubicBezTo>
                  <a:cubicBezTo>
                    <a:pt x="2030608" y="14390"/>
                    <a:pt x="2003555" y="11152"/>
                    <a:pt x="1976314" y="8865"/>
                  </a:cubicBezTo>
                  <a:cubicBezTo>
                    <a:pt x="1971550" y="8483"/>
                    <a:pt x="1966216" y="10007"/>
                    <a:pt x="1961454" y="11724"/>
                  </a:cubicBezTo>
                  <a:cubicBezTo>
                    <a:pt x="1943165" y="18010"/>
                    <a:pt x="1925449" y="27154"/>
                    <a:pt x="1906588" y="30964"/>
                  </a:cubicBezTo>
                  <a:cubicBezTo>
                    <a:pt x="1865821" y="39156"/>
                    <a:pt x="1826385" y="55539"/>
                    <a:pt x="1783330" y="48871"/>
                  </a:cubicBezTo>
                  <a:cubicBezTo>
                    <a:pt x="1775902" y="47729"/>
                    <a:pt x="1767327" y="53253"/>
                    <a:pt x="1759327" y="55349"/>
                  </a:cubicBezTo>
                  <a:cubicBezTo>
                    <a:pt x="1744849" y="58969"/>
                    <a:pt x="1730750" y="64111"/>
                    <a:pt x="1716082" y="65445"/>
                  </a:cubicBezTo>
                  <a:cubicBezTo>
                    <a:pt x="1677218" y="68875"/>
                    <a:pt x="1637975" y="71924"/>
                    <a:pt x="1598920" y="72114"/>
                  </a:cubicBezTo>
                  <a:cubicBezTo>
                    <a:pt x="1580061" y="72304"/>
                    <a:pt x="1561201" y="65065"/>
                    <a:pt x="1542150" y="62207"/>
                  </a:cubicBezTo>
                  <a:cubicBezTo>
                    <a:pt x="1533578" y="60873"/>
                    <a:pt x="1519669" y="58587"/>
                    <a:pt x="1516813" y="62779"/>
                  </a:cubicBezTo>
                  <a:cubicBezTo>
                    <a:pt x="1494714" y="94592"/>
                    <a:pt x="1463661" y="88496"/>
                    <a:pt x="1432228" y="88116"/>
                  </a:cubicBezTo>
                  <a:cubicBezTo>
                    <a:pt x="1362884" y="87354"/>
                    <a:pt x="1295826" y="60493"/>
                    <a:pt x="1224765" y="71924"/>
                  </a:cubicBezTo>
                  <a:cubicBezTo>
                    <a:pt x="1204191" y="75162"/>
                    <a:pt x="1181330" y="62397"/>
                    <a:pt x="1159231" y="58207"/>
                  </a:cubicBezTo>
                  <a:cubicBezTo>
                    <a:pt x="1147801" y="56111"/>
                    <a:pt x="1135228" y="53633"/>
                    <a:pt x="1124370" y="56301"/>
                  </a:cubicBezTo>
                  <a:cubicBezTo>
                    <a:pt x="1107605" y="60493"/>
                    <a:pt x="1091411" y="68113"/>
                    <a:pt x="1075600" y="75542"/>
                  </a:cubicBezTo>
                  <a:cubicBezTo>
                    <a:pt x="1046261" y="89258"/>
                    <a:pt x="1016162" y="89258"/>
                    <a:pt x="986633" y="79162"/>
                  </a:cubicBezTo>
                  <a:cubicBezTo>
                    <a:pt x="944722" y="64873"/>
                    <a:pt x="903193" y="64873"/>
                    <a:pt x="861089" y="76304"/>
                  </a:cubicBezTo>
                  <a:cubicBezTo>
                    <a:pt x="826990" y="85638"/>
                    <a:pt x="791935" y="92116"/>
                    <a:pt x="759168" y="104689"/>
                  </a:cubicBezTo>
                  <a:cubicBezTo>
                    <a:pt x="744689" y="110215"/>
                    <a:pt x="732497" y="126597"/>
                    <a:pt x="723735" y="140696"/>
                  </a:cubicBezTo>
                  <a:cubicBezTo>
                    <a:pt x="706018" y="169271"/>
                    <a:pt x="674013" y="169081"/>
                    <a:pt x="647532" y="147934"/>
                  </a:cubicBezTo>
                  <a:cubicBezTo>
                    <a:pt x="619717" y="125645"/>
                    <a:pt x="584664" y="112501"/>
                    <a:pt x="552659" y="95926"/>
                  </a:cubicBezTo>
                  <a:cubicBezTo>
                    <a:pt x="549993" y="94592"/>
                    <a:pt x="545039" y="96116"/>
                    <a:pt x="541800" y="97640"/>
                  </a:cubicBezTo>
                  <a:cubicBezTo>
                    <a:pt x="488649" y="122407"/>
                    <a:pt x="433593" y="126979"/>
                    <a:pt x="375107" y="123169"/>
                  </a:cubicBezTo>
                  <a:cubicBezTo>
                    <a:pt x="341960" y="121073"/>
                    <a:pt x="307289" y="137076"/>
                    <a:pt x="273567" y="145458"/>
                  </a:cubicBezTo>
                  <a:cubicBezTo>
                    <a:pt x="269757" y="146410"/>
                    <a:pt x="266519" y="151174"/>
                    <a:pt x="264043" y="154792"/>
                  </a:cubicBezTo>
                  <a:cubicBezTo>
                    <a:pt x="240228" y="190800"/>
                    <a:pt x="208223" y="200706"/>
                    <a:pt x="169360" y="177273"/>
                  </a:cubicBezTo>
                  <a:cubicBezTo>
                    <a:pt x="143643" y="161651"/>
                    <a:pt x="118114" y="158032"/>
                    <a:pt x="89347" y="157460"/>
                  </a:cubicBezTo>
                  <a:cubicBezTo>
                    <a:pt x="71059" y="157078"/>
                    <a:pt x="52962" y="147934"/>
                    <a:pt x="34291" y="145268"/>
                  </a:cubicBezTo>
                  <a:lnTo>
                    <a:pt x="0" y="142056"/>
                  </a:lnTo>
                  <a:lnTo>
                    <a:pt x="0" y="849556"/>
                  </a:lnTo>
                  <a:lnTo>
                    <a:pt x="60652" y="844783"/>
                  </a:lnTo>
                  <a:cubicBezTo>
                    <a:pt x="80251" y="839473"/>
                    <a:pt x="99446" y="832043"/>
                    <a:pt x="119068" y="827281"/>
                  </a:cubicBezTo>
                  <a:cubicBezTo>
                    <a:pt x="137355" y="822899"/>
                    <a:pt x="154501" y="812802"/>
                    <a:pt x="171840" y="804420"/>
                  </a:cubicBezTo>
                  <a:cubicBezTo>
                    <a:pt x="204985" y="788417"/>
                    <a:pt x="240420" y="798514"/>
                    <a:pt x="274329" y="794324"/>
                  </a:cubicBezTo>
                  <a:cubicBezTo>
                    <a:pt x="285188" y="792990"/>
                    <a:pt x="296046" y="791466"/>
                    <a:pt x="306715" y="788798"/>
                  </a:cubicBezTo>
                  <a:cubicBezTo>
                    <a:pt x="335864" y="781749"/>
                    <a:pt x="365583" y="775653"/>
                    <a:pt x="393967" y="765937"/>
                  </a:cubicBezTo>
                  <a:cubicBezTo>
                    <a:pt x="426165" y="755078"/>
                    <a:pt x="457028" y="740600"/>
                    <a:pt x="493793" y="725549"/>
                  </a:cubicBezTo>
                  <a:cubicBezTo>
                    <a:pt x="506557" y="729360"/>
                    <a:pt x="526180" y="739648"/>
                    <a:pt x="546373" y="740600"/>
                  </a:cubicBezTo>
                  <a:cubicBezTo>
                    <a:pt x="611337" y="743838"/>
                    <a:pt x="672107" y="726121"/>
                    <a:pt x="730211" y="698116"/>
                  </a:cubicBezTo>
                  <a:cubicBezTo>
                    <a:pt x="747927" y="689734"/>
                    <a:pt x="766980" y="684210"/>
                    <a:pt x="784889" y="676018"/>
                  </a:cubicBezTo>
                  <a:cubicBezTo>
                    <a:pt x="791173" y="673161"/>
                    <a:pt x="799365" y="667065"/>
                    <a:pt x="800509" y="661349"/>
                  </a:cubicBezTo>
                  <a:cubicBezTo>
                    <a:pt x="807175" y="628201"/>
                    <a:pt x="831942" y="628772"/>
                    <a:pt x="857661" y="626868"/>
                  </a:cubicBezTo>
                  <a:cubicBezTo>
                    <a:pt x="888332" y="624582"/>
                    <a:pt x="918621" y="619248"/>
                    <a:pt x="949102" y="614676"/>
                  </a:cubicBezTo>
                  <a:cubicBezTo>
                    <a:pt x="953104" y="614104"/>
                    <a:pt x="956722" y="610104"/>
                    <a:pt x="960342" y="607435"/>
                  </a:cubicBezTo>
                  <a:cubicBezTo>
                    <a:pt x="965867" y="603435"/>
                    <a:pt x="971011" y="597339"/>
                    <a:pt x="977109" y="595815"/>
                  </a:cubicBezTo>
                  <a:cubicBezTo>
                    <a:pt x="1008350" y="588385"/>
                    <a:pt x="1039783" y="582099"/>
                    <a:pt x="1071218" y="575240"/>
                  </a:cubicBezTo>
                  <a:cubicBezTo>
                    <a:pt x="1078266" y="573716"/>
                    <a:pt x="1085505" y="571812"/>
                    <a:pt x="1091983" y="568764"/>
                  </a:cubicBezTo>
                  <a:cubicBezTo>
                    <a:pt x="1098079" y="565906"/>
                    <a:pt x="1103223" y="560952"/>
                    <a:pt x="1109321" y="557904"/>
                  </a:cubicBezTo>
                  <a:cubicBezTo>
                    <a:pt x="1125892" y="549714"/>
                    <a:pt x="1142851" y="542093"/>
                    <a:pt x="1162279" y="532949"/>
                  </a:cubicBezTo>
                  <a:cubicBezTo>
                    <a:pt x="1173138" y="550094"/>
                    <a:pt x="1187810" y="540377"/>
                    <a:pt x="1206097" y="532187"/>
                  </a:cubicBezTo>
                  <a:cubicBezTo>
                    <a:pt x="1224765" y="523805"/>
                    <a:pt x="1246292" y="521137"/>
                    <a:pt x="1266867" y="518088"/>
                  </a:cubicBezTo>
                  <a:cubicBezTo>
                    <a:pt x="1304588" y="512564"/>
                    <a:pt x="1342499" y="509134"/>
                    <a:pt x="1380219" y="504182"/>
                  </a:cubicBezTo>
                  <a:cubicBezTo>
                    <a:pt x="1388221" y="503038"/>
                    <a:pt x="1397365" y="500944"/>
                    <a:pt x="1403461" y="496180"/>
                  </a:cubicBezTo>
                  <a:cubicBezTo>
                    <a:pt x="1445181" y="464175"/>
                    <a:pt x="1495858" y="455222"/>
                    <a:pt x="1544054" y="458268"/>
                  </a:cubicBezTo>
                  <a:cubicBezTo>
                    <a:pt x="1581965" y="460557"/>
                    <a:pt x="1619114" y="462270"/>
                    <a:pt x="1656644" y="459032"/>
                  </a:cubicBezTo>
                  <a:cubicBezTo>
                    <a:pt x="1659502" y="458841"/>
                    <a:pt x="1663312" y="459223"/>
                    <a:pt x="1665406" y="460747"/>
                  </a:cubicBezTo>
                  <a:cubicBezTo>
                    <a:pt x="1678360" y="470843"/>
                    <a:pt x="1691887" y="471605"/>
                    <a:pt x="1708461" y="473318"/>
                  </a:cubicBezTo>
                  <a:cubicBezTo>
                    <a:pt x="1731894" y="475797"/>
                    <a:pt x="1753421" y="474081"/>
                    <a:pt x="1775140" y="469891"/>
                  </a:cubicBezTo>
                  <a:cubicBezTo>
                    <a:pt x="1790952" y="466843"/>
                    <a:pt x="1806953" y="460557"/>
                    <a:pt x="1821051" y="452554"/>
                  </a:cubicBezTo>
                  <a:cubicBezTo>
                    <a:pt x="1840672" y="441314"/>
                    <a:pt x="1859535" y="436934"/>
                    <a:pt x="1878203" y="451792"/>
                  </a:cubicBezTo>
                  <a:cubicBezTo>
                    <a:pt x="1898396" y="467605"/>
                    <a:pt x="1921257" y="462081"/>
                    <a:pt x="1943547" y="462651"/>
                  </a:cubicBezTo>
                  <a:cubicBezTo>
                    <a:pt x="1953262" y="462843"/>
                    <a:pt x="1963550" y="462461"/>
                    <a:pt x="1972884" y="464937"/>
                  </a:cubicBezTo>
                  <a:cubicBezTo>
                    <a:pt x="1999935" y="471987"/>
                    <a:pt x="2026036" y="482655"/>
                    <a:pt x="2053469" y="487417"/>
                  </a:cubicBezTo>
                  <a:cubicBezTo>
                    <a:pt x="2068710" y="490084"/>
                    <a:pt x="2085664" y="485321"/>
                    <a:pt x="2101477" y="481893"/>
                  </a:cubicBezTo>
                  <a:cubicBezTo>
                    <a:pt x="2117479" y="478273"/>
                    <a:pt x="2133290" y="472749"/>
                    <a:pt x="2148722" y="467033"/>
                  </a:cubicBezTo>
                  <a:cubicBezTo>
                    <a:pt x="2159199" y="463223"/>
                    <a:pt x="2170629" y="459603"/>
                    <a:pt x="2179011" y="452744"/>
                  </a:cubicBezTo>
                  <a:cubicBezTo>
                    <a:pt x="2198064" y="437124"/>
                    <a:pt x="2217685" y="434455"/>
                    <a:pt x="2240165" y="442648"/>
                  </a:cubicBezTo>
                  <a:cubicBezTo>
                    <a:pt x="2243593" y="443982"/>
                    <a:pt x="2247594" y="443982"/>
                    <a:pt x="2251404" y="444172"/>
                  </a:cubicBezTo>
                  <a:cubicBezTo>
                    <a:pt x="2312370" y="448172"/>
                    <a:pt x="2373330" y="450650"/>
                    <a:pt x="2433912" y="456746"/>
                  </a:cubicBezTo>
                  <a:cubicBezTo>
                    <a:pt x="2458485" y="459223"/>
                    <a:pt x="2482107" y="470081"/>
                    <a:pt x="2506302" y="476939"/>
                  </a:cubicBezTo>
                  <a:cubicBezTo>
                    <a:pt x="2511256" y="478273"/>
                    <a:pt x="2516783" y="480369"/>
                    <a:pt x="2521735" y="479415"/>
                  </a:cubicBezTo>
                  <a:cubicBezTo>
                    <a:pt x="2575647" y="469891"/>
                    <a:pt x="2626132" y="483797"/>
                    <a:pt x="2675854" y="502086"/>
                  </a:cubicBezTo>
                  <a:cubicBezTo>
                    <a:pt x="2680996" y="503992"/>
                    <a:pt x="2687282" y="503419"/>
                    <a:pt x="2692998" y="503038"/>
                  </a:cubicBezTo>
                  <a:cubicBezTo>
                    <a:pt x="2709003" y="501706"/>
                    <a:pt x="2726337" y="495038"/>
                    <a:pt x="2740816" y="499037"/>
                  </a:cubicBezTo>
                  <a:cubicBezTo>
                    <a:pt x="2779297" y="510088"/>
                    <a:pt x="2817398" y="523423"/>
                    <a:pt x="2853596" y="540187"/>
                  </a:cubicBezTo>
                  <a:cubicBezTo>
                    <a:pt x="2890365" y="557142"/>
                    <a:pt x="2924464" y="571430"/>
                    <a:pt x="2966565" y="554286"/>
                  </a:cubicBezTo>
                  <a:cubicBezTo>
                    <a:pt x="2984472" y="547045"/>
                    <a:pt x="3008095" y="552190"/>
                    <a:pt x="3028671" y="554094"/>
                  </a:cubicBezTo>
                  <a:cubicBezTo>
                    <a:pt x="3043720" y="555618"/>
                    <a:pt x="3058198" y="564192"/>
                    <a:pt x="3073059" y="564192"/>
                  </a:cubicBezTo>
                  <a:cubicBezTo>
                    <a:pt x="3112686" y="564192"/>
                    <a:pt x="3147927" y="574288"/>
                    <a:pt x="3182219" y="594862"/>
                  </a:cubicBezTo>
                  <a:cubicBezTo>
                    <a:pt x="3195557" y="602863"/>
                    <a:pt x="3216322" y="597529"/>
                    <a:pt x="3233656" y="599625"/>
                  </a:cubicBezTo>
                  <a:cubicBezTo>
                    <a:pt x="3251947" y="602101"/>
                    <a:pt x="3270804" y="604387"/>
                    <a:pt x="3288332" y="609914"/>
                  </a:cubicBezTo>
                  <a:cubicBezTo>
                    <a:pt x="3333672" y="624392"/>
                    <a:pt x="3378441" y="640774"/>
                    <a:pt x="3423591" y="656015"/>
                  </a:cubicBezTo>
                  <a:cubicBezTo>
                    <a:pt x="3460738" y="668590"/>
                    <a:pt x="3497317" y="658683"/>
                    <a:pt x="3534084" y="653349"/>
                  </a:cubicBezTo>
                  <a:cubicBezTo>
                    <a:pt x="3557137" y="649919"/>
                    <a:pt x="3578662" y="641727"/>
                    <a:pt x="3604571" y="653918"/>
                  </a:cubicBezTo>
                  <a:cubicBezTo>
                    <a:pt x="3629338" y="665541"/>
                    <a:pt x="3660771" y="662873"/>
                    <a:pt x="3688586" y="669160"/>
                  </a:cubicBezTo>
                  <a:cubicBezTo>
                    <a:pt x="3712020" y="674494"/>
                    <a:pt x="3734687" y="683068"/>
                    <a:pt x="3757358" y="691450"/>
                  </a:cubicBezTo>
                  <a:cubicBezTo>
                    <a:pt x="3788221" y="702881"/>
                    <a:pt x="3818700" y="714881"/>
                    <a:pt x="3852421" y="709167"/>
                  </a:cubicBezTo>
                  <a:cubicBezTo>
                    <a:pt x="3890714" y="702689"/>
                    <a:pt x="3917001" y="727073"/>
                    <a:pt x="3947104" y="743267"/>
                  </a:cubicBezTo>
                  <a:cubicBezTo>
                    <a:pt x="3967869" y="754316"/>
                    <a:pt x="3990538" y="762509"/>
                    <a:pt x="4013208" y="769367"/>
                  </a:cubicBezTo>
                  <a:cubicBezTo>
                    <a:pt x="4043497" y="778321"/>
                    <a:pt x="4074740" y="783655"/>
                    <a:pt x="4105222" y="792417"/>
                  </a:cubicBezTo>
                  <a:cubicBezTo>
                    <a:pt x="4151325" y="805561"/>
                    <a:pt x="4198001" y="815850"/>
                    <a:pt x="4246006" y="808610"/>
                  </a:cubicBezTo>
                  <a:cubicBezTo>
                    <a:pt x="4268105" y="805372"/>
                    <a:pt x="4288682" y="805561"/>
                    <a:pt x="4310779" y="810326"/>
                  </a:cubicBezTo>
                  <a:cubicBezTo>
                    <a:pt x="4346974" y="818136"/>
                    <a:pt x="4384123" y="819089"/>
                    <a:pt x="4413272" y="848235"/>
                  </a:cubicBezTo>
                  <a:cubicBezTo>
                    <a:pt x="4423558" y="858524"/>
                    <a:pt x="4442037" y="861190"/>
                    <a:pt x="4457087" y="866524"/>
                  </a:cubicBezTo>
                  <a:cubicBezTo>
                    <a:pt x="4474424" y="872812"/>
                    <a:pt x="4487186" y="869572"/>
                    <a:pt x="4496523" y="851284"/>
                  </a:cubicBezTo>
                  <a:cubicBezTo>
                    <a:pt x="4500713" y="843093"/>
                    <a:pt x="4512715" y="835091"/>
                    <a:pt x="4522050" y="833757"/>
                  </a:cubicBezTo>
                  <a:cubicBezTo>
                    <a:pt x="4550055" y="829757"/>
                    <a:pt x="4575773" y="835663"/>
                    <a:pt x="4602824" y="848618"/>
                  </a:cubicBezTo>
                  <a:cubicBezTo>
                    <a:pt x="4628161" y="860810"/>
                    <a:pt x="4659786" y="859476"/>
                    <a:pt x="4688553" y="864238"/>
                  </a:cubicBezTo>
                  <a:cubicBezTo>
                    <a:pt x="4708936" y="867668"/>
                    <a:pt x="4729321" y="874716"/>
                    <a:pt x="4749895" y="874716"/>
                  </a:cubicBezTo>
                  <a:cubicBezTo>
                    <a:pt x="4775424" y="874716"/>
                    <a:pt x="4800761" y="868620"/>
                    <a:pt x="4826480" y="866334"/>
                  </a:cubicBezTo>
                  <a:cubicBezTo>
                    <a:pt x="4846482" y="864430"/>
                    <a:pt x="4866867" y="865192"/>
                    <a:pt x="4886870" y="862906"/>
                  </a:cubicBezTo>
                  <a:cubicBezTo>
                    <a:pt x="4903254" y="861190"/>
                    <a:pt x="4919447" y="856810"/>
                    <a:pt x="4935639" y="853190"/>
                  </a:cubicBezTo>
                  <a:cubicBezTo>
                    <a:pt x="4941546" y="851856"/>
                    <a:pt x="4947452" y="846711"/>
                    <a:pt x="4952784" y="847473"/>
                  </a:cubicBezTo>
                  <a:cubicBezTo>
                    <a:pt x="5005745" y="855666"/>
                    <a:pt x="5043847" y="819089"/>
                    <a:pt x="5088617" y="802896"/>
                  </a:cubicBezTo>
                  <a:cubicBezTo>
                    <a:pt x="5135672" y="785749"/>
                    <a:pt x="5181204" y="759461"/>
                    <a:pt x="5233781" y="767271"/>
                  </a:cubicBezTo>
                  <a:cubicBezTo>
                    <a:pt x="5265596" y="772033"/>
                    <a:pt x="5296267" y="783083"/>
                    <a:pt x="5327893" y="789752"/>
                  </a:cubicBezTo>
                  <a:cubicBezTo>
                    <a:pt x="5339132" y="792038"/>
                    <a:pt x="5351705" y="791656"/>
                    <a:pt x="5362946" y="789370"/>
                  </a:cubicBezTo>
                  <a:cubicBezTo>
                    <a:pt x="5417240" y="778891"/>
                    <a:pt x="5470771" y="777367"/>
                    <a:pt x="5524115" y="794514"/>
                  </a:cubicBezTo>
                  <a:cubicBezTo>
                    <a:pt x="5533257" y="797372"/>
                    <a:pt x="5542974" y="800038"/>
                    <a:pt x="5552500" y="800038"/>
                  </a:cubicBezTo>
                  <a:cubicBezTo>
                    <a:pt x="5604697" y="800038"/>
                    <a:pt x="5655944" y="796038"/>
                    <a:pt x="5705857" y="777367"/>
                  </a:cubicBezTo>
                  <a:cubicBezTo>
                    <a:pt x="5722622" y="771080"/>
                    <a:pt x="5743006" y="775081"/>
                    <a:pt x="5761485" y="773557"/>
                  </a:cubicBezTo>
                  <a:cubicBezTo>
                    <a:pt x="5778629" y="772224"/>
                    <a:pt x="5796156" y="771653"/>
                    <a:pt x="5812731" y="767271"/>
                  </a:cubicBezTo>
                  <a:cubicBezTo>
                    <a:pt x="5836925" y="760795"/>
                    <a:pt x="5859404" y="760033"/>
                    <a:pt x="5884361" y="765747"/>
                  </a:cubicBezTo>
                  <a:cubicBezTo>
                    <a:pt x="5908174" y="771080"/>
                    <a:pt x="5933892" y="768415"/>
                    <a:pt x="5958660" y="768605"/>
                  </a:cubicBezTo>
                  <a:cubicBezTo>
                    <a:pt x="5986282" y="768795"/>
                    <a:pt x="6013906" y="768984"/>
                    <a:pt x="6041528" y="768033"/>
                  </a:cubicBezTo>
                  <a:cubicBezTo>
                    <a:pt x="6052579" y="767653"/>
                    <a:pt x="6065151" y="760033"/>
                    <a:pt x="6074297" y="763081"/>
                  </a:cubicBezTo>
                  <a:cubicBezTo>
                    <a:pt x="6103824" y="773366"/>
                    <a:pt x="6133353" y="760985"/>
                    <a:pt x="6162880" y="766509"/>
                  </a:cubicBezTo>
                  <a:cubicBezTo>
                    <a:pt x="6177360" y="769367"/>
                    <a:pt x="6193743" y="761557"/>
                    <a:pt x="6209364" y="760795"/>
                  </a:cubicBezTo>
                  <a:cubicBezTo>
                    <a:pt x="6234892" y="759461"/>
                    <a:pt x="6260419" y="760033"/>
                    <a:pt x="6285948" y="759651"/>
                  </a:cubicBezTo>
                  <a:cubicBezTo>
                    <a:pt x="6294330" y="759461"/>
                    <a:pt x="6302523" y="758699"/>
                    <a:pt x="6310905" y="758316"/>
                  </a:cubicBezTo>
                  <a:cubicBezTo>
                    <a:pt x="6318335" y="757936"/>
                    <a:pt x="6326145" y="756222"/>
                    <a:pt x="6333194" y="757554"/>
                  </a:cubicBezTo>
                  <a:cubicBezTo>
                    <a:pt x="6358723" y="762318"/>
                    <a:pt x="6383869" y="770129"/>
                    <a:pt x="6409586" y="773177"/>
                  </a:cubicBezTo>
                  <a:cubicBezTo>
                    <a:pt x="6431875" y="775843"/>
                    <a:pt x="6454928" y="772224"/>
                    <a:pt x="6477407" y="774129"/>
                  </a:cubicBezTo>
                  <a:cubicBezTo>
                    <a:pt x="6517032" y="777367"/>
                    <a:pt x="6556657" y="783083"/>
                    <a:pt x="6596283" y="786703"/>
                  </a:cubicBezTo>
                  <a:cubicBezTo>
                    <a:pt x="6604857" y="787465"/>
                    <a:pt x="6613809" y="782701"/>
                    <a:pt x="6622573" y="782321"/>
                  </a:cubicBezTo>
                  <a:cubicBezTo>
                    <a:pt x="6650006" y="781369"/>
                    <a:pt x="6677439" y="781177"/>
                    <a:pt x="6704872" y="780607"/>
                  </a:cubicBezTo>
                  <a:cubicBezTo>
                    <a:pt x="6720493" y="780415"/>
                    <a:pt x="6736305" y="780987"/>
                    <a:pt x="6751738" y="779273"/>
                  </a:cubicBezTo>
                  <a:cubicBezTo>
                    <a:pt x="6772120" y="776987"/>
                    <a:pt x="6790599" y="773557"/>
                    <a:pt x="6809650" y="788417"/>
                  </a:cubicBezTo>
                  <a:cubicBezTo>
                    <a:pt x="6816984" y="794180"/>
                    <a:pt x="6824819" y="797942"/>
                    <a:pt x="6832976" y="800428"/>
                  </a:cubicBezTo>
                  <a:close/>
                </a:path>
              </a:pathLst>
            </a:custGeom>
            <a:blipFill dpi="0" rotWithShape="1">
              <a:blip r:embed="rId7">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textruta 3">
            <a:extLst>
              <a:ext uri="{FF2B5EF4-FFF2-40B4-BE49-F238E27FC236}">
                <a16:creationId xmlns:a16="http://schemas.microsoft.com/office/drawing/2014/main" id="{E83FFC89-00A3-4C6E-A0CA-47012E1FEBFB}"/>
              </a:ext>
            </a:extLst>
          </p:cNvPr>
          <p:cNvSpPr txBox="1"/>
          <p:nvPr/>
        </p:nvSpPr>
        <p:spPr>
          <a:xfrm>
            <a:off x="4724400" y="3200399"/>
            <a:ext cx="274319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sv-SE" dirty="0"/>
          </a:p>
        </p:txBody>
      </p:sp>
    </p:spTree>
    <p:extLst>
      <p:ext uri="{BB962C8B-B14F-4D97-AF65-F5344CB8AC3E}">
        <p14:creationId xmlns:p14="http://schemas.microsoft.com/office/powerpoint/2010/main" val="3157589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Bildobjekt 5" descr="En bild som visar text, clipart&#10;&#10;Automatiskt genererad beskrivning">
            <a:extLst>
              <a:ext uri="{FF2B5EF4-FFF2-40B4-BE49-F238E27FC236}">
                <a16:creationId xmlns:a16="http://schemas.microsoft.com/office/drawing/2014/main" id="{49CDC3E5-8DA7-4412-9112-CFB8AEEC9A8A}"/>
              </a:ext>
            </a:extLst>
          </p:cNvPr>
          <p:cNvPicPr>
            <a:picLocks noChangeAspect="1"/>
          </p:cNvPicPr>
          <p:nvPr/>
        </p:nvPicPr>
        <p:blipFill rotWithShape="1">
          <a:blip r:embed="rId3"/>
          <a:srcRect l="3461" r="23459" b="-1"/>
          <a:stretch/>
        </p:blipFill>
        <p:spPr>
          <a:xfrm>
            <a:off x="3522468" y="10"/>
            <a:ext cx="8669532" cy="6857990"/>
          </a:xfrm>
          <a:prstGeom prst="rect">
            <a:avLst/>
          </a:prstGeom>
        </p:spPr>
      </p:pic>
      <p:sp>
        <p:nvSpPr>
          <p:cNvPr id="12" name="Rectangle 11">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A1C96BE0-1130-4BC3-AF1A-859252755A3A}"/>
              </a:ext>
            </a:extLst>
          </p:cNvPr>
          <p:cNvSpPr>
            <a:spLocks noGrp="1"/>
          </p:cNvSpPr>
          <p:nvPr>
            <p:ph type="title"/>
          </p:nvPr>
        </p:nvSpPr>
        <p:spPr>
          <a:xfrm>
            <a:off x="371094" y="1161288"/>
            <a:ext cx="3775082" cy="1124712"/>
          </a:xfrm>
        </p:spPr>
        <p:txBody>
          <a:bodyPr anchor="b">
            <a:normAutofit/>
          </a:bodyPr>
          <a:lstStyle/>
          <a:p>
            <a:pPr>
              <a:spcBef>
                <a:spcPts val="1000"/>
              </a:spcBef>
            </a:pPr>
            <a:r>
              <a:rPr lang="sv-SE" sz="4000" b="1" dirty="0">
                <a:latin typeface="Calibri"/>
                <a:ea typeface="+mj-lt"/>
                <a:cs typeface="+mj-lt"/>
              </a:rPr>
              <a:t>Säsongen 21/22</a:t>
            </a:r>
            <a:endParaRPr lang="sv-SE" sz="4000" dirty="0">
              <a:latin typeface="Calibri"/>
              <a:ea typeface="+mj-lt"/>
              <a:cs typeface="+mj-lt"/>
            </a:endParaRPr>
          </a:p>
        </p:txBody>
      </p:sp>
      <p:sp>
        <p:nvSpPr>
          <p:cNvPr id="14" name="Rectangle 13">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Platshållare för innehåll 2">
            <a:extLst>
              <a:ext uri="{FF2B5EF4-FFF2-40B4-BE49-F238E27FC236}">
                <a16:creationId xmlns:a16="http://schemas.microsoft.com/office/drawing/2014/main" id="{951EA9FF-62F2-4881-959D-30A2FD1300A6}"/>
              </a:ext>
            </a:extLst>
          </p:cNvPr>
          <p:cNvSpPr>
            <a:spLocks noGrp="1"/>
          </p:cNvSpPr>
          <p:nvPr>
            <p:ph idx="1"/>
          </p:nvPr>
        </p:nvSpPr>
        <p:spPr>
          <a:xfrm>
            <a:off x="371094" y="2718054"/>
            <a:ext cx="5641967" cy="3207258"/>
          </a:xfrm>
        </p:spPr>
        <p:txBody>
          <a:bodyPr vert="horz" lIns="91440" tIns="45720" rIns="91440" bIns="45720" rtlCol="0" anchor="t">
            <a:normAutofit/>
          </a:bodyPr>
          <a:lstStyle/>
          <a:p>
            <a:pPr marL="0" indent="0">
              <a:buNone/>
            </a:pPr>
            <a:r>
              <a:rPr lang="sv-SE" sz="2000" dirty="0">
                <a:ea typeface="+mn-lt"/>
                <a:cs typeface="+mn-lt"/>
              </a:rPr>
              <a:t> Mål </a:t>
            </a:r>
            <a:endParaRPr lang="sv-SE" sz="2000" dirty="0">
              <a:ea typeface="Calibri"/>
              <a:cs typeface="Calibri"/>
            </a:endParaRPr>
          </a:p>
          <a:p>
            <a:pPr marL="0" indent="0">
              <a:buNone/>
            </a:pPr>
            <a:r>
              <a:rPr lang="sv-SE" sz="2000" dirty="0">
                <a:ea typeface="+mn-lt"/>
                <a:cs typeface="+mn-lt"/>
              </a:rPr>
              <a:t>Träningar </a:t>
            </a:r>
          </a:p>
          <a:p>
            <a:pPr marL="0" indent="0">
              <a:buNone/>
            </a:pPr>
            <a:r>
              <a:rPr lang="sv-SE" sz="2000" dirty="0">
                <a:ea typeface="+mn-lt"/>
                <a:cs typeface="+mn-lt"/>
              </a:rPr>
              <a:t>Cup Östersund</a:t>
            </a:r>
          </a:p>
          <a:p>
            <a:pPr marL="0" indent="0">
              <a:buNone/>
            </a:pPr>
            <a:r>
              <a:rPr lang="sv-SE" sz="2000" dirty="0">
                <a:ea typeface="+mn-lt"/>
                <a:cs typeface="+mn-lt"/>
              </a:rPr>
              <a:t>Kommande cuper 19/3 Njurunda och 2-3/4 Timrå </a:t>
            </a:r>
          </a:p>
          <a:p>
            <a:endParaRPr lang="sv-SE" sz="1700">
              <a:ea typeface="Calibri"/>
              <a:cs typeface="Calibri"/>
            </a:endParaRPr>
          </a:p>
        </p:txBody>
      </p:sp>
    </p:spTree>
    <p:extLst>
      <p:ext uri="{BB962C8B-B14F-4D97-AF65-F5344CB8AC3E}">
        <p14:creationId xmlns:p14="http://schemas.microsoft.com/office/powerpoint/2010/main" val="3473056511"/>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4" name="Rectangle 33">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Bildobjekt 4" descr="En bild som visar text, clipart&#10;&#10;Automatiskt genererad beskrivning">
            <a:extLst>
              <a:ext uri="{FF2B5EF4-FFF2-40B4-BE49-F238E27FC236}">
                <a16:creationId xmlns:a16="http://schemas.microsoft.com/office/drawing/2014/main" id="{2DE9287F-AD0F-4586-9E99-E7849C24EEFE}"/>
              </a:ext>
            </a:extLst>
          </p:cNvPr>
          <p:cNvPicPr>
            <a:picLocks noChangeAspect="1"/>
          </p:cNvPicPr>
          <p:nvPr/>
        </p:nvPicPr>
        <p:blipFill rotWithShape="1">
          <a:blip r:embed="rId3"/>
          <a:srcRect l="3461" r="23459" b="-1"/>
          <a:stretch/>
        </p:blipFill>
        <p:spPr>
          <a:xfrm>
            <a:off x="3522468" y="10"/>
            <a:ext cx="8669532" cy="6857990"/>
          </a:xfrm>
          <a:prstGeom prst="rect">
            <a:avLst/>
          </a:prstGeom>
        </p:spPr>
      </p:pic>
      <p:sp>
        <p:nvSpPr>
          <p:cNvPr id="36" name="Rectangle 35">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5A365A64-C746-45BB-A39B-F52E7681BA59}"/>
              </a:ext>
            </a:extLst>
          </p:cNvPr>
          <p:cNvSpPr>
            <a:spLocks noGrp="1"/>
          </p:cNvSpPr>
          <p:nvPr>
            <p:ph type="title"/>
          </p:nvPr>
        </p:nvSpPr>
        <p:spPr>
          <a:xfrm>
            <a:off x="371094" y="1161288"/>
            <a:ext cx="4163858" cy="1124712"/>
          </a:xfrm>
        </p:spPr>
        <p:txBody>
          <a:bodyPr anchor="b">
            <a:normAutofit fontScale="90000"/>
          </a:bodyPr>
          <a:lstStyle/>
          <a:p>
            <a:r>
              <a:rPr lang="sv-SE" sz="4000" b="1" dirty="0">
                <a:latin typeface="Calibri"/>
                <a:ea typeface="+mj-lt"/>
                <a:cs typeface="+mj-lt"/>
              </a:rPr>
              <a:t>Kiosk och parkeringspass</a:t>
            </a:r>
            <a:r>
              <a:rPr lang="sv-SE" sz="2800" b="1" dirty="0">
                <a:ea typeface="+mj-lt"/>
                <a:cs typeface="+mj-lt"/>
              </a:rPr>
              <a:t> </a:t>
            </a:r>
            <a:endParaRPr lang="sv-SE" sz="2800" b="1">
              <a:ea typeface="Calibri Light"/>
              <a:cs typeface="Calibri Light"/>
            </a:endParaRPr>
          </a:p>
        </p:txBody>
      </p:sp>
      <p:sp>
        <p:nvSpPr>
          <p:cNvPr id="38" name="Rectangle 37">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0" name="Rectangle 39">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Platshållare för innehåll 2">
            <a:extLst>
              <a:ext uri="{FF2B5EF4-FFF2-40B4-BE49-F238E27FC236}">
                <a16:creationId xmlns:a16="http://schemas.microsoft.com/office/drawing/2014/main" id="{B7AC5C49-538C-42E7-9A4B-5D8E5C597BB2}"/>
              </a:ext>
            </a:extLst>
          </p:cNvPr>
          <p:cNvSpPr>
            <a:spLocks noGrp="1"/>
          </p:cNvSpPr>
          <p:nvPr>
            <p:ph idx="1"/>
          </p:nvPr>
        </p:nvSpPr>
        <p:spPr>
          <a:xfrm>
            <a:off x="371094" y="2718054"/>
            <a:ext cx="3438906" cy="3207258"/>
          </a:xfrm>
        </p:spPr>
        <p:txBody>
          <a:bodyPr vert="horz" lIns="91440" tIns="45720" rIns="91440" bIns="45720" rtlCol="0" anchor="t">
            <a:normAutofit/>
          </a:bodyPr>
          <a:lstStyle/>
          <a:p>
            <a:pPr marL="0" indent="0">
              <a:buNone/>
            </a:pPr>
            <a:r>
              <a:rPr lang="sv-SE" sz="2000" dirty="0">
                <a:latin typeface="Calibri"/>
                <a:ea typeface="Calibri Light"/>
                <a:cs typeface="Calibri Light"/>
              </a:rPr>
              <a:t>Sandra Högman Kioskansvarig</a:t>
            </a:r>
            <a:endParaRPr lang="sv-SE" sz="2000" dirty="0">
              <a:latin typeface="Calibri"/>
              <a:ea typeface="+mn-lt"/>
              <a:cs typeface="+mn-lt"/>
            </a:endParaRPr>
          </a:p>
          <a:p>
            <a:pPr marL="0" indent="0">
              <a:buNone/>
            </a:pPr>
            <a:endParaRPr lang="sv-SE" sz="1700">
              <a:ea typeface="Calibri"/>
              <a:cs typeface="Calibri"/>
            </a:endParaRPr>
          </a:p>
        </p:txBody>
      </p:sp>
    </p:spTree>
    <p:extLst>
      <p:ext uri="{BB962C8B-B14F-4D97-AF65-F5344CB8AC3E}">
        <p14:creationId xmlns:p14="http://schemas.microsoft.com/office/powerpoint/2010/main" val="3200308883"/>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344EE8-FF6E-4996-B533-7F6B4CCD68BC}"/>
              </a:ext>
            </a:extLst>
          </p:cNvPr>
          <p:cNvGraphicFramePr>
            <a:graphicFrameLocks noChangeAspect="1"/>
          </p:cNvGraphicFramePr>
          <p:nvPr>
            <p:custDataLst>
              <p:tags r:id="rId1"/>
            </p:custDataLst>
            <p:extLst>
              <p:ext uri="{D42A27DB-BD31-4B8C-83A1-F6EECF244321}">
                <p14:modId xmlns:p14="http://schemas.microsoft.com/office/powerpoint/2010/main" val="4136834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BF344EE8-FF6E-4996-B533-7F6B4CCD68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28" name="Rectangle 27">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Bildobjekt 5" descr="En bild som visar text, clipart&#10;&#10;Automatiskt genererad beskrivning">
            <a:extLst>
              <a:ext uri="{FF2B5EF4-FFF2-40B4-BE49-F238E27FC236}">
                <a16:creationId xmlns:a16="http://schemas.microsoft.com/office/drawing/2014/main" id="{F0C229AB-6A96-4976-BBCA-832A1814FB71}"/>
              </a:ext>
            </a:extLst>
          </p:cNvPr>
          <p:cNvPicPr>
            <a:picLocks noChangeAspect="1"/>
          </p:cNvPicPr>
          <p:nvPr/>
        </p:nvPicPr>
        <p:blipFill rotWithShape="1">
          <a:blip r:embed="rId6"/>
          <a:srcRect l="3461" r="23459" b="-1"/>
          <a:stretch/>
        </p:blipFill>
        <p:spPr>
          <a:xfrm>
            <a:off x="3522468" y="10"/>
            <a:ext cx="8669532" cy="6857990"/>
          </a:xfrm>
          <a:prstGeom prst="rect">
            <a:avLst/>
          </a:prstGeom>
        </p:spPr>
      </p:pic>
      <p:sp>
        <p:nvSpPr>
          <p:cNvPr id="30" name="Rectangle 29">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90921B0B-2988-4AA2-B645-44E7BA7EC9E3}"/>
              </a:ext>
            </a:extLst>
          </p:cNvPr>
          <p:cNvSpPr>
            <a:spLocks noGrp="1"/>
          </p:cNvSpPr>
          <p:nvPr>
            <p:ph type="title"/>
          </p:nvPr>
        </p:nvSpPr>
        <p:spPr>
          <a:xfrm>
            <a:off x="371094" y="1161288"/>
            <a:ext cx="3438144" cy="1124712"/>
          </a:xfrm>
        </p:spPr>
        <p:txBody>
          <a:bodyPr vert="horz" anchor="b">
            <a:normAutofit/>
          </a:bodyPr>
          <a:lstStyle/>
          <a:p>
            <a:r>
              <a:rPr lang="sv-SE" sz="4000" b="1" dirty="0">
                <a:latin typeface="Calibri"/>
                <a:ea typeface="+mj-lt"/>
                <a:cs typeface="+mj-lt"/>
              </a:rPr>
              <a:t>Vasa Cup</a:t>
            </a:r>
            <a:br>
              <a:rPr lang="sv-SE" sz="2800" b="1" dirty="0">
                <a:ea typeface="+mj-lt"/>
                <a:cs typeface="+mj-lt"/>
              </a:rPr>
            </a:br>
            <a:r>
              <a:rPr lang="sv-SE" sz="2800" b="1" dirty="0">
                <a:ea typeface="+mj-lt"/>
                <a:cs typeface="+mj-lt"/>
              </a:rPr>
              <a:t> </a:t>
            </a:r>
            <a:endParaRPr lang="sv-SE" sz="2800" b="1" dirty="0">
              <a:ea typeface="Calibri Light"/>
              <a:cs typeface="Calibri Light"/>
            </a:endParaRPr>
          </a:p>
        </p:txBody>
      </p:sp>
      <p:sp>
        <p:nvSpPr>
          <p:cNvPr id="32" name="Rectangle 31">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4" name="Rectangle 33">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Platshållare för innehåll 2">
            <a:extLst>
              <a:ext uri="{FF2B5EF4-FFF2-40B4-BE49-F238E27FC236}">
                <a16:creationId xmlns:a16="http://schemas.microsoft.com/office/drawing/2014/main" id="{76C1DC21-5736-415C-B565-24C57DB212DF}"/>
              </a:ext>
            </a:extLst>
          </p:cNvPr>
          <p:cNvSpPr>
            <a:spLocks noGrp="1"/>
          </p:cNvSpPr>
          <p:nvPr>
            <p:ph idx="1"/>
          </p:nvPr>
        </p:nvSpPr>
        <p:spPr>
          <a:xfrm>
            <a:off x="371094" y="2718054"/>
            <a:ext cx="3438906" cy="3207258"/>
          </a:xfrm>
        </p:spPr>
        <p:txBody>
          <a:bodyPr vert="horz" lIns="91440" tIns="45720" rIns="91440" bIns="45720" rtlCol="0" anchor="t">
            <a:normAutofit/>
          </a:bodyPr>
          <a:lstStyle/>
          <a:p>
            <a:pPr marL="0" indent="0">
              <a:buNone/>
            </a:pPr>
            <a:r>
              <a:rPr lang="sv-SE" sz="2000" dirty="0">
                <a:latin typeface="Calibri"/>
                <a:ea typeface="Calibri Light"/>
                <a:cs typeface="Calibri Light"/>
              </a:rPr>
              <a:t>Linda Nilsson Cupgeneral</a:t>
            </a:r>
            <a:endParaRPr lang="sv-SE" sz="2000" dirty="0">
              <a:latin typeface="Calibri"/>
              <a:ea typeface="+mn-lt"/>
              <a:cs typeface="+mn-lt"/>
            </a:endParaRPr>
          </a:p>
          <a:p>
            <a:pPr marL="0" indent="0">
              <a:buNone/>
            </a:pPr>
            <a:endParaRPr lang="sv-SE" sz="1700">
              <a:ea typeface="Calibri"/>
              <a:cs typeface="Calibri"/>
            </a:endParaRPr>
          </a:p>
        </p:txBody>
      </p:sp>
      <p:sp>
        <p:nvSpPr>
          <p:cNvPr id="4" name="textruta 3">
            <a:extLst>
              <a:ext uri="{FF2B5EF4-FFF2-40B4-BE49-F238E27FC236}">
                <a16:creationId xmlns:a16="http://schemas.microsoft.com/office/drawing/2014/main" id="{8DB90E18-9203-4AFB-AFB0-F9B80EE8A1BE}"/>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sv-SE" b="1" dirty="0">
              <a:latin typeface="Calibri Light"/>
              <a:ea typeface="Calibri Light"/>
              <a:cs typeface="Calibri Light"/>
            </a:endParaRPr>
          </a:p>
        </p:txBody>
      </p:sp>
    </p:spTree>
    <p:extLst>
      <p:ext uri="{BB962C8B-B14F-4D97-AF65-F5344CB8AC3E}">
        <p14:creationId xmlns:p14="http://schemas.microsoft.com/office/powerpoint/2010/main" val="1001189755"/>
      </p:ext>
    </p:extLst>
  </p:cSld>
  <p:clrMapOvr>
    <a:overrideClrMapping bg1="dk1" tx1="lt1" bg2="dk2" tx2="lt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Bildobjekt 4" descr="En bild som visar text, clipart&#10;&#10;Automatiskt genererad beskrivning">
            <a:extLst>
              <a:ext uri="{FF2B5EF4-FFF2-40B4-BE49-F238E27FC236}">
                <a16:creationId xmlns:a16="http://schemas.microsoft.com/office/drawing/2014/main" id="{654B1EF2-A4F8-46EE-AF54-7442B25FB6E3}"/>
              </a:ext>
            </a:extLst>
          </p:cNvPr>
          <p:cNvPicPr>
            <a:picLocks noChangeAspect="1"/>
          </p:cNvPicPr>
          <p:nvPr/>
        </p:nvPicPr>
        <p:blipFill rotWithShape="1">
          <a:blip r:embed="rId3"/>
          <a:srcRect l="3461" r="23459" b="-1"/>
          <a:stretch/>
        </p:blipFill>
        <p:spPr>
          <a:xfrm>
            <a:off x="3522468" y="10"/>
            <a:ext cx="8669532" cy="6857990"/>
          </a:xfrm>
          <a:prstGeom prst="rect">
            <a:avLst/>
          </a:prstGeom>
        </p:spPr>
      </p:pic>
      <p:sp>
        <p:nvSpPr>
          <p:cNvPr id="29" name="Rectangle 28">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04F1E7CC-B133-4C2F-AC65-B73C4C5122B5}"/>
              </a:ext>
            </a:extLst>
          </p:cNvPr>
          <p:cNvSpPr>
            <a:spLocks noGrp="1"/>
          </p:cNvSpPr>
          <p:nvPr>
            <p:ph type="title"/>
          </p:nvPr>
        </p:nvSpPr>
        <p:spPr>
          <a:xfrm>
            <a:off x="371094" y="1161288"/>
            <a:ext cx="5107286" cy="1124712"/>
          </a:xfrm>
        </p:spPr>
        <p:txBody>
          <a:bodyPr vert="horz" lIns="91440" tIns="45720" rIns="91440" bIns="45720" rtlCol="0" anchor="b">
            <a:noAutofit/>
          </a:bodyPr>
          <a:lstStyle/>
          <a:p>
            <a:pPr>
              <a:spcBef>
                <a:spcPts val="1000"/>
              </a:spcBef>
            </a:pPr>
            <a:r>
              <a:rPr lang="sv-SE" sz="4000" b="1" dirty="0">
                <a:latin typeface="Calibri"/>
                <a:ea typeface="+mj-lt"/>
                <a:cs typeface="+mj-lt"/>
              </a:rPr>
              <a:t>Kommande försäljning </a:t>
            </a:r>
            <a:endParaRPr lang="sv-SE" sz="4000" dirty="0">
              <a:latin typeface="Calibri"/>
              <a:ea typeface="+mj-lt"/>
              <a:cs typeface="+mj-lt"/>
            </a:endParaRPr>
          </a:p>
          <a:p>
            <a:pPr marL="285750" indent="-285750">
              <a:spcBef>
                <a:spcPts val="1000"/>
              </a:spcBef>
              <a:buFont typeface="Arial"/>
              <a:buChar char="•"/>
            </a:pPr>
            <a:endParaRPr lang="sv-SE" sz="2800">
              <a:ea typeface="+mj-lt"/>
              <a:cs typeface="+mj-lt"/>
            </a:endParaRPr>
          </a:p>
        </p:txBody>
      </p:sp>
      <p:sp>
        <p:nvSpPr>
          <p:cNvPr id="31" name="Rectangle 30">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3" name="Rectangle 32">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Platshållare för innehåll 2">
            <a:extLst>
              <a:ext uri="{FF2B5EF4-FFF2-40B4-BE49-F238E27FC236}">
                <a16:creationId xmlns:a16="http://schemas.microsoft.com/office/drawing/2014/main" id="{9517ECEE-0658-4E41-A0D8-C0BE4E16BE31}"/>
              </a:ext>
            </a:extLst>
          </p:cNvPr>
          <p:cNvSpPr>
            <a:spLocks noGrp="1"/>
          </p:cNvSpPr>
          <p:nvPr>
            <p:ph idx="1"/>
          </p:nvPr>
        </p:nvSpPr>
        <p:spPr>
          <a:xfrm>
            <a:off x="371094" y="2718054"/>
            <a:ext cx="3438906" cy="3207258"/>
          </a:xfrm>
        </p:spPr>
        <p:txBody>
          <a:bodyPr vert="horz" lIns="91440" tIns="45720" rIns="91440" bIns="45720" rtlCol="0" anchor="t">
            <a:normAutofit/>
          </a:bodyPr>
          <a:lstStyle/>
          <a:p>
            <a:pPr marL="0" indent="0">
              <a:buNone/>
            </a:pPr>
            <a:r>
              <a:rPr lang="sv-SE" sz="2000" dirty="0">
                <a:latin typeface="Calibri"/>
                <a:ea typeface="Calibri Light"/>
                <a:cs typeface="Calibri Light"/>
              </a:rPr>
              <a:t>Sundsvall Vatten</a:t>
            </a:r>
            <a:endParaRPr lang="sv-SE" sz="2000">
              <a:latin typeface="Calibri"/>
              <a:ea typeface="Calibri" panose="020F0502020204030204"/>
              <a:cs typeface="Calibri" panose="020F0502020204030204"/>
            </a:endParaRPr>
          </a:p>
          <a:p>
            <a:pPr marL="0" indent="0">
              <a:buNone/>
            </a:pPr>
            <a:r>
              <a:rPr lang="sv-SE" sz="2000" dirty="0">
                <a:latin typeface="Calibri"/>
                <a:ea typeface="Calibri Light"/>
                <a:cs typeface="Calibri Light"/>
              </a:rPr>
              <a:t>Toapapper i Maj</a:t>
            </a:r>
          </a:p>
        </p:txBody>
      </p:sp>
    </p:spTree>
    <p:extLst>
      <p:ext uri="{BB962C8B-B14F-4D97-AF65-F5344CB8AC3E}">
        <p14:creationId xmlns:p14="http://schemas.microsoft.com/office/powerpoint/2010/main" val="2683408189"/>
      </p:ext>
    </p:extLst>
  </p:cSld>
  <p:clrMapOvr>
    <a:overrideClrMapping bg1="dk1" tx1="lt1" bg2="dk2" tx2="lt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Bildobjekt 5" descr="En bild som visar text, clipart&#10;&#10;Automatiskt genererad beskrivning">
            <a:extLst>
              <a:ext uri="{FF2B5EF4-FFF2-40B4-BE49-F238E27FC236}">
                <a16:creationId xmlns:a16="http://schemas.microsoft.com/office/drawing/2014/main" id="{C4EE3734-0CF3-4841-B634-AD4B64529037}"/>
              </a:ext>
            </a:extLst>
          </p:cNvPr>
          <p:cNvPicPr>
            <a:picLocks noChangeAspect="1"/>
          </p:cNvPicPr>
          <p:nvPr/>
        </p:nvPicPr>
        <p:blipFill rotWithShape="1">
          <a:blip r:embed="rId3"/>
          <a:srcRect l="3461" r="23459" b="-1"/>
          <a:stretch/>
        </p:blipFill>
        <p:spPr>
          <a:xfrm>
            <a:off x="3522468" y="10"/>
            <a:ext cx="8669532" cy="6857990"/>
          </a:xfrm>
          <a:prstGeom prst="rect">
            <a:avLst/>
          </a:prstGeom>
        </p:spPr>
      </p:pic>
      <p:sp>
        <p:nvSpPr>
          <p:cNvPr id="30" name="Rectangle 29">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FA2172AA-5361-4408-AD73-16F6A1D3B689}"/>
              </a:ext>
            </a:extLst>
          </p:cNvPr>
          <p:cNvSpPr>
            <a:spLocks noGrp="1"/>
          </p:cNvSpPr>
          <p:nvPr>
            <p:ph type="title"/>
          </p:nvPr>
        </p:nvSpPr>
        <p:spPr>
          <a:xfrm>
            <a:off x="371094" y="1161288"/>
            <a:ext cx="3438144" cy="1124712"/>
          </a:xfrm>
        </p:spPr>
        <p:txBody>
          <a:bodyPr anchor="b">
            <a:normAutofit/>
          </a:bodyPr>
          <a:lstStyle/>
          <a:p>
            <a:pPr>
              <a:spcBef>
                <a:spcPts val="1000"/>
              </a:spcBef>
            </a:pPr>
            <a:br>
              <a:rPr lang="sv-SE" sz="2800" b="1" dirty="0">
                <a:ea typeface="+mj-lt"/>
                <a:cs typeface="+mj-lt"/>
              </a:rPr>
            </a:br>
            <a:r>
              <a:rPr lang="sv-SE" sz="4000" b="1" dirty="0">
                <a:latin typeface="Calibri"/>
                <a:ea typeface="+mj-lt"/>
                <a:cs typeface="+mj-lt"/>
              </a:rPr>
              <a:t>Ekonomi</a:t>
            </a:r>
            <a:endParaRPr lang="sv-SE" sz="4000" dirty="0">
              <a:latin typeface="Calibri"/>
              <a:ea typeface="+mj-lt"/>
              <a:cs typeface="+mj-lt"/>
            </a:endParaRPr>
          </a:p>
          <a:p>
            <a:pPr marL="285750" indent="-285750">
              <a:spcBef>
                <a:spcPts val="1000"/>
              </a:spcBef>
              <a:buFont typeface="Arial"/>
              <a:buChar char="•"/>
            </a:pPr>
            <a:endParaRPr lang="nn-NO" sz="2800">
              <a:ea typeface="+mj-lt"/>
              <a:cs typeface="+mj-lt"/>
            </a:endParaRPr>
          </a:p>
        </p:txBody>
      </p:sp>
      <p:sp>
        <p:nvSpPr>
          <p:cNvPr id="32" name="Rectangle 31">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4" name="Rectangle 33">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Platshållare för innehåll 2">
            <a:extLst>
              <a:ext uri="{FF2B5EF4-FFF2-40B4-BE49-F238E27FC236}">
                <a16:creationId xmlns:a16="http://schemas.microsoft.com/office/drawing/2014/main" id="{9874A4BC-90AB-4412-AD61-7E3BD2639E6B}"/>
              </a:ext>
            </a:extLst>
          </p:cNvPr>
          <p:cNvSpPr>
            <a:spLocks noGrp="1"/>
          </p:cNvSpPr>
          <p:nvPr>
            <p:ph idx="1"/>
          </p:nvPr>
        </p:nvSpPr>
        <p:spPr>
          <a:xfrm>
            <a:off x="371094" y="2718054"/>
            <a:ext cx="4086865" cy="3207258"/>
          </a:xfrm>
        </p:spPr>
        <p:txBody>
          <a:bodyPr vert="horz" lIns="91440" tIns="45720" rIns="91440" bIns="45720" rtlCol="0" anchor="t">
            <a:normAutofit/>
          </a:bodyPr>
          <a:lstStyle/>
          <a:p>
            <a:pPr marL="0" indent="0">
              <a:buNone/>
            </a:pPr>
            <a:r>
              <a:rPr lang="nn-NO" sz="2000" dirty="0">
                <a:latin typeface="Calibri"/>
                <a:ea typeface="Calibri Light"/>
                <a:cs typeface="Calibri Light"/>
              </a:rPr>
              <a:t>20.000 </a:t>
            </a:r>
            <a:r>
              <a:rPr lang="nn-NO" sz="2000" dirty="0" err="1">
                <a:latin typeface="Calibri"/>
                <a:ea typeface="Calibri Light"/>
                <a:cs typeface="Calibri Light"/>
              </a:rPr>
              <a:t>fondering</a:t>
            </a:r>
            <a:r>
              <a:rPr lang="nn-NO" sz="2000" dirty="0">
                <a:latin typeface="Calibri"/>
                <a:ea typeface="Calibri Light"/>
                <a:cs typeface="Calibri Light"/>
              </a:rPr>
              <a:t>  25.000 i cupavgift</a:t>
            </a:r>
            <a:endParaRPr lang="sv-SE" sz="2000">
              <a:latin typeface="Calibri"/>
              <a:ea typeface="Calibri"/>
              <a:cs typeface="Calibri"/>
            </a:endParaRPr>
          </a:p>
          <a:p>
            <a:pPr marL="0" indent="0">
              <a:buNone/>
            </a:pPr>
            <a:r>
              <a:rPr lang="nn-NO" sz="2000" dirty="0" err="1">
                <a:latin typeface="Calibri"/>
                <a:ea typeface="Calibri Light"/>
                <a:cs typeface="Calibri Light"/>
              </a:rPr>
              <a:t>Läget</a:t>
            </a:r>
            <a:r>
              <a:rPr lang="nn-NO" sz="2000" dirty="0">
                <a:latin typeface="Calibri"/>
                <a:ea typeface="Calibri Light"/>
                <a:cs typeface="Calibri Light"/>
              </a:rPr>
              <a:t> nu</a:t>
            </a:r>
          </a:p>
          <a:p>
            <a:pPr marL="0" indent="0">
              <a:buNone/>
            </a:pPr>
            <a:r>
              <a:rPr lang="nn-NO" sz="2000" dirty="0" err="1">
                <a:latin typeface="Calibri"/>
                <a:ea typeface="Calibri Light"/>
                <a:cs typeface="Calibri Light"/>
              </a:rPr>
              <a:t>Deltagaravgift</a:t>
            </a:r>
            <a:r>
              <a:rPr lang="nn-NO" sz="2000" dirty="0">
                <a:latin typeface="Calibri"/>
                <a:ea typeface="Calibri Light"/>
                <a:cs typeface="Calibri Light"/>
              </a:rPr>
              <a:t> på </a:t>
            </a:r>
            <a:r>
              <a:rPr lang="nn-NO" sz="2000" dirty="0" err="1">
                <a:latin typeface="Calibri"/>
                <a:ea typeface="Calibri Light"/>
                <a:cs typeface="Calibri Light"/>
              </a:rPr>
              <a:t>cuper</a:t>
            </a:r>
            <a:r>
              <a:rPr lang="nn-NO" sz="2000" dirty="0">
                <a:latin typeface="Calibri"/>
                <a:ea typeface="Calibri Light"/>
                <a:cs typeface="Calibri Light"/>
              </a:rPr>
              <a:t> </a:t>
            </a:r>
            <a:r>
              <a:rPr lang="nn-NO" sz="2000" dirty="0" err="1">
                <a:latin typeface="Calibri"/>
                <a:ea typeface="Calibri Light"/>
                <a:cs typeface="Calibri Light"/>
              </a:rPr>
              <a:t>säsong</a:t>
            </a:r>
            <a:r>
              <a:rPr lang="nn-NO" sz="2000" dirty="0">
                <a:latin typeface="Calibri"/>
                <a:ea typeface="Calibri Light"/>
                <a:cs typeface="Calibri Light"/>
              </a:rPr>
              <a:t> 22/23 </a:t>
            </a:r>
          </a:p>
          <a:p>
            <a:pPr marL="0" indent="0">
              <a:buNone/>
            </a:pPr>
            <a:r>
              <a:rPr lang="nn-NO" sz="2000" dirty="0" err="1">
                <a:latin typeface="Calibri"/>
                <a:ea typeface="Calibri Light"/>
                <a:cs typeface="Calibri Light"/>
              </a:rPr>
              <a:t>Försäljning</a:t>
            </a:r>
            <a:r>
              <a:rPr lang="nn-NO" sz="2000" dirty="0">
                <a:latin typeface="Calibri"/>
                <a:ea typeface="Calibri Light"/>
                <a:cs typeface="Calibri Light"/>
              </a:rPr>
              <a:t> </a:t>
            </a:r>
            <a:r>
              <a:rPr lang="nn-NO" sz="2000" dirty="0" err="1">
                <a:latin typeface="Calibri"/>
                <a:ea typeface="Calibri Light"/>
                <a:cs typeface="Calibri Light"/>
              </a:rPr>
              <a:t>toapapper</a:t>
            </a:r>
            <a:r>
              <a:rPr lang="nn-NO" sz="2000" dirty="0">
                <a:latin typeface="Calibri"/>
                <a:ea typeface="Calibri Light"/>
                <a:cs typeface="Calibri Light"/>
              </a:rPr>
              <a:t> </a:t>
            </a:r>
            <a:r>
              <a:rPr lang="nn-NO" sz="2000" dirty="0" err="1">
                <a:latin typeface="Calibri"/>
                <a:ea typeface="Calibri Light"/>
                <a:cs typeface="Calibri Light"/>
              </a:rPr>
              <a:t>nästa</a:t>
            </a:r>
            <a:r>
              <a:rPr lang="nn-NO" sz="2000" dirty="0">
                <a:latin typeface="Calibri"/>
                <a:ea typeface="Calibri Light"/>
                <a:cs typeface="Calibri Light"/>
              </a:rPr>
              <a:t> </a:t>
            </a:r>
            <a:r>
              <a:rPr lang="nn-NO" sz="2000" dirty="0" err="1">
                <a:latin typeface="Calibri"/>
                <a:ea typeface="Calibri Light"/>
                <a:cs typeface="Calibri Light"/>
              </a:rPr>
              <a:t>säsong</a:t>
            </a:r>
            <a:endParaRPr lang="nn-NO" sz="2000">
              <a:latin typeface="Calibri"/>
              <a:ea typeface="Calibri Light"/>
              <a:cs typeface="Calibri Light"/>
            </a:endParaRPr>
          </a:p>
        </p:txBody>
      </p:sp>
    </p:spTree>
    <p:extLst>
      <p:ext uri="{BB962C8B-B14F-4D97-AF65-F5344CB8AC3E}">
        <p14:creationId xmlns:p14="http://schemas.microsoft.com/office/powerpoint/2010/main" val="2187197311"/>
      </p:ext>
    </p:extLst>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3CD503-C5DE-4160-AB85-A445CFD2C8E9}"/>
              </a:ext>
            </a:extLst>
          </p:cNvPr>
          <p:cNvGraphicFramePr>
            <a:graphicFrameLocks noChangeAspect="1"/>
          </p:cNvGraphicFramePr>
          <p:nvPr>
            <p:custDataLst>
              <p:tags r:id="rId1"/>
            </p:custDataLst>
            <p:extLst>
              <p:ext uri="{D42A27DB-BD31-4B8C-83A1-F6EECF244321}">
                <p14:modId xmlns:p14="http://schemas.microsoft.com/office/powerpoint/2010/main" val="2654675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023CD503-C5DE-4160-AB85-A445CFD2C8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23" name="Rectangle 22">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Bildobjekt 4" descr="En bild som visar text, clipart&#10;&#10;Automatiskt genererad beskrivning">
            <a:extLst>
              <a:ext uri="{FF2B5EF4-FFF2-40B4-BE49-F238E27FC236}">
                <a16:creationId xmlns:a16="http://schemas.microsoft.com/office/drawing/2014/main" id="{7EA4CF3A-E977-4AA1-9442-0D6B1353240C}"/>
              </a:ext>
            </a:extLst>
          </p:cNvPr>
          <p:cNvPicPr>
            <a:picLocks noChangeAspect="1"/>
          </p:cNvPicPr>
          <p:nvPr/>
        </p:nvPicPr>
        <p:blipFill rotWithShape="1">
          <a:blip r:embed="rId6"/>
          <a:srcRect l="3438" r="23491" b="-1"/>
          <a:stretch/>
        </p:blipFill>
        <p:spPr>
          <a:xfrm>
            <a:off x="3523488" y="10"/>
            <a:ext cx="8668512" cy="6857990"/>
          </a:xfrm>
          <a:prstGeom prst="rect">
            <a:avLst/>
          </a:prstGeom>
        </p:spPr>
      </p:pic>
      <p:sp>
        <p:nvSpPr>
          <p:cNvPr id="25" name="Rectangle 24">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750D7BCF-07F8-4EE8-84CE-FA88D8DB5D26}"/>
              </a:ext>
            </a:extLst>
          </p:cNvPr>
          <p:cNvSpPr>
            <a:spLocks noGrp="1"/>
          </p:cNvSpPr>
          <p:nvPr>
            <p:ph type="title"/>
          </p:nvPr>
        </p:nvSpPr>
        <p:spPr>
          <a:xfrm>
            <a:off x="477981" y="1122363"/>
            <a:ext cx="4023360" cy="3204134"/>
          </a:xfrm>
        </p:spPr>
        <p:txBody>
          <a:bodyPr vert="horz" lIns="91440" tIns="45720" rIns="91440" bIns="45720" rtlCol="0" anchor="b">
            <a:normAutofit/>
          </a:bodyPr>
          <a:lstStyle/>
          <a:p>
            <a:r>
              <a:rPr lang="en-US" sz="4800" b="1" dirty="0" err="1">
                <a:latin typeface="Calibri"/>
                <a:cs typeface="Calibri"/>
              </a:rPr>
              <a:t>Övrigt</a:t>
            </a:r>
            <a:endParaRPr lang="en-US" sz="4800" b="1">
              <a:latin typeface="Calibri"/>
              <a:cs typeface="Calibri"/>
            </a:endParaRPr>
          </a:p>
        </p:txBody>
      </p:sp>
      <p:sp>
        <p:nvSpPr>
          <p:cNvPr id="3" name="Platshållare för innehåll 2">
            <a:extLst>
              <a:ext uri="{FF2B5EF4-FFF2-40B4-BE49-F238E27FC236}">
                <a16:creationId xmlns:a16="http://schemas.microsoft.com/office/drawing/2014/main" id="{8EED720C-5044-4741-A520-9A070923F5FB}"/>
              </a:ext>
            </a:extLst>
          </p:cNvPr>
          <p:cNvSpPr>
            <a:spLocks noGrp="1"/>
          </p:cNvSpPr>
          <p:nvPr>
            <p:ph idx="1"/>
          </p:nvPr>
        </p:nvSpPr>
        <p:spPr>
          <a:xfrm>
            <a:off x="515843" y="4872922"/>
            <a:ext cx="7569919" cy="1293333"/>
          </a:xfrm>
        </p:spPr>
        <p:txBody>
          <a:bodyPr vert="horz" lIns="91440" tIns="45720" rIns="91440" bIns="45720" rtlCol="0">
            <a:normAutofit/>
          </a:bodyPr>
          <a:lstStyle/>
          <a:p>
            <a:pPr marL="0" indent="0">
              <a:buNone/>
            </a:pPr>
            <a:r>
              <a:rPr lang="sv-SE" sz="2000" dirty="0"/>
              <a:t>Bemanning pappersutlämning onsdag 23 mars </a:t>
            </a:r>
            <a:r>
              <a:rPr lang="sv-SE" sz="2000" dirty="0" err="1"/>
              <a:t>kl</a:t>
            </a:r>
            <a:r>
              <a:rPr lang="sv-SE" sz="2000" dirty="0"/>
              <a:t> 19-20, 2 stycken</a:t>
            </a:r>
          </a:p>
          <a:p>
            <a:pPr marL="0" indent="0">
              <a:buNone/>
            </a:pPr>
            <a:r>
              <a:rPr lang="sv-SE" sz="2000" dirty="0"/>
              <a:t>Avslutning</a:t>
            </a:r>
          </a:p>
          <a:p>
            <a:pPr marL="0" indent="0">
              <a:buNone/>
            </a:pPr>
            <a:r>
              <a:rPr lang="sv-SE" sz="2000" dirty="0"/>
              <a:t>mm</a:t>
            </a:r>
          </a:p>
        </p:txBody>
      </p:sp>
      <p:sp>
        <p:nvSpPr>
          <p:cNvPr id="27" name="Rectangle 26">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9" name="Rectangle 2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164049"/>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TotalTime>
  <Words>1420</Words>
  <Application>Microsoft Office PowerPoint</Application>
  <PresentationFormat>Widescreen</PresentationFormat>
  <Paragraphs>93</Paragraphs>
  <Slides>7</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Calibri Light</vt:lpstr>
      <vt:lpstr>Office Theme</vt:lpstr>
      <vt:lpstr>think-cell Slide</vt:lpstr>
      <vt:lpstr>Föräldramöte U10     17e mars - Agenda</vt:lpstr>
      <vt:lpstr>Säsongen 21/22</vt:lpstr>
      <vt:lpstr>Kiosk och parkeringspass </vt:lpstr>
      <vt:lpstr>Vasa Cup  </vt:lpstr>
      <vt:lpstr>Kommande försäljning  </vt:lpstr>
      <vt:lpstr> Ekonomi </vt:lpstr>
      <vt:lpstr>Övrig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Anna-Karin</dc:creator>
  <cp:lastModifiedBy>Linda Nilsson</cp:lastModifiedBy>
  <cp:revision>363</cp:revision>
  <dcterms:created xsi:type="dcterms:W3CDTF">2021-08-15T11:21:45Z</dcterms:created>
  <dcterms:modified xsi:type="dcterms:W3CDTF">2022-03-24T10:0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431d30e-c018-4f72-ad4c-e56e9d03b1f0_Enabled">
    <vt:lpwstr>true</vt:lpwstr>
  </property>
  <property fmtid="{D5CDD505-2E9C-101B-9397-08002B2CF9AE}" pid="3" name="MSIP_Label_6431d30e-c018-4f72-ad4c-e56e9d03b1f0_SetDate">
    <vt:lpwstr>2022-01-30T21:38:31Z</vt:lpwstr>
  </property>
  <property fmtid="{D5CDD505-2E9C-101B-9397-08002B2CF9AE}" pid="4" name="MSIP_Label_6431d30e-c018-4f72-ad4c-e56e9d03b1f0_Method">
    <vt:lpwstr>Standard</vt:lpwstr>
  </property>
  <property fmtid="{D5CDD505-2E9C-101B-9397-08002B2CF9AE}" pid="5" name="MSIP_Label_6431d30e-c018-4f72-ad4c-e56e9d03b1f0_Name">
    <vt:lpwstr>6431d30e-c018-4f72-ad4c-e56e9d03b1f0</vt:lpwstr>
  </property>
  <property fmtid="{D5CDD505-2E9C-101B-9397-08002B2CF9AE}" pid="6" name="MSIP_Label_6431d30e-c018-4f72-ad4c-e56e9d03b1f0_SiteId">
    <vt:lpwstr>f8be18a6-f648-4a47-be73-86d6c5c6604d</vt:lpwstr>
  </property>
  <property fmtid="{D5CDD505-2E9C-101B-9397-08002B2CF9AE}" pid="7" name="MSIP_Label_6431d30e-c018-4f72-ad4c-e56e9d03b1f0_ActionId">
    <vt:lpwstr>f9f3af12-ab5f-4c7b-b736-d55d913c50a8</vt:lpwstr>
  </property>
  <property fmtid="{D5CDD505-2E9C-101B-9397-08002B2CF9AE}" pid="8" name="MSIP_Label_6431d30e-c018-4f72-ad4c-e56e9d03b1f0_ContentBits">
    <vt:lpwstr>2</vt:lpwstr>
  </property>
  <property fmtid="{D5CDD505-2E9C-101B-9397-08002B2CF9AE}" pid="9" name="MSIP_Label_55e46f04-1151-4928-a464-2b4d83efefbb_Enabled">
    <vt:lpwstr>true</vt:lpwstr>
  </property>
  <property fmtid="{D5CDD505-2E9C-101B-9397-08002B2CF9AE}" pid="10" name="MSIP_Label_55e46f04-1151-4928-a464-2b4d83efefbb_SetDate">
    <vt:lpwstr>2022-03-14T18:19:21Z</vt:lpwstr>
  </property>
  <property fmtid="{D5CDD505-2E9C-101B-9397-08002B2CF9AE}" pid="11" name="MSIP_Label_55e46f04-1151-4928-a464-2b4d83efefbb_Method">
    <vt:lpwstr>Standard</vt:lpwstr>
  </property>
  <property fmtid="{D5CDD505-2E9C-101B-9397-08002B2CF9AE}" pid="12" name="MSIP_Label_55e46f04-1151-4928-a464-2b4d83efefbb_Name">
    <vt:lpwstr>General Information</vt:lpwstr>
  </property>
  <property fmtid="{D5CDD505-2E9C-101B-9397-08002B2CF9AE}" pid="13" name="MSIP_Label_55e46f04-1151-4928-a464-2b4d83efefbb_SiteId">
    <vt:lpwstr>52d58be5-69b4-421b-836e-b92dbe0b067d</vt:lpwstr>
  </property>
  <property fmtid="{D5CDD505-2E9C-101B-9397-08002B2CF9AE}" pid="14" name="MSIP_Label_55e46f04-1151-4928-a464-2b4d83efefbb_ActionId">
    <vt:lpwstr>42f026c5-f854-4af4-842a-87fd8166e67d</vt:lpwstr>
  </property>
  <property fmtid="{D5CDD505-2E9C-101B-9397-08002B2CF9AE}" pid="15" name="MSIP_Label_55e46f04-1151-4928-a464-2b4d83efefbb_ContentBits">
    <vt:lpwstr>0</vt:lpwstr>
  </property>
</Properties>
</file>